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notesSlides/notesSlide3.xml" ContentType="application/vnd.openxmlformats-officedocument.presentationml.notesSlid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3" r:id="rId1"/>
  </p:sldMasterIdLst>
  <p:notesMasterIdLst>
    <p:notesMasterId r:id="rId17"/>
  </p:notesMasterIdLst>
  <p:sldIdLst>
    <p:sldId id="257" r:id="rId2"/>
    <p:sldId id="258" r:id="rId3"/>
    <p:sldId id="259" r:id="rId4"/>
    <p:sldId id="260" r:id="rId5"/>
    <p:sldId id="262" r:id="rId6"/>
    <p:sldId id="263" r:id="rId7"/>
    <p:sldId id="265" r:id="rId8"/>
    <p:sldId id="267" r:id="rId9"/>
    <p:sldId id="269" r:id="rId10"/>
    <p:sldId id="271" r:id="rId11"/>
    <p:sldId id="272" r:id="rId12"/>
    <p:sldId id="274" r:id="rId13"/>
    <p:sldId id="275" r:id="rId14"/>
    <p:sldId id="276" r:id="rId15"/>
    <p:sldId id="277" r:id="rId1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3979" autoAdjust="0"/>
  </p:normalViewPr>
  <p:slideViewPr>
    <p:cSldViewPr snapToGrid="0">
      <p:cViewPr varScale="1">
        <p:scale>
          <a:sx n="69" d="100"/>
          <a:sy n="69" d="100"/>
        </p:scale>
        <p:origin x="540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0.w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D0639EF-1294-4E56-A72A-A6AEC799613F}" type="datetimeFigureOut">
              <a:rPr lang="en-US" smtClean="0"/>
              <a:t>10/20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69DE686-7CD1-42F6-B866-7946999FA6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22122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B6AEA21-98CC-47E6-9DB5-4549DBBABB40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238740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UI</a:t>
            </a:r>
            <a:r>
              <a:rPr lang="zh-CN" altLang="en-US" dirty="0"/>
              <a:t>是</a:t>
            </a:r>
            <a:r>
              <a:rPr lang="en-US" altLang="zh-CN" dirty="0"/>
              <a:t>UX</a:t>
            </a:r>
            <a:r>
              <a:rPr lang="zh-CN" altLang="en-US" dirty="0"/>
              <a:t>里的一个小分支。</a:t>
            </a:r>
            <a:br>
              <a:rPr lang="zh-CN" altLang="en-US" dirty="0"/>
            </a:br>
            <a:r>
              <a:rPr lang="en-US" altLang="zh-CN" dirty="0"/>
              <a:t>UI(User Interface)</a:t>
            </a:r>
            <a:r>
              <a:rPr lang="zh-CN" altLang="en-US" dirty="0"/>
              <a:t>，是指用户界面，是视觉呈现来提高用户体验，使用户面对这个界面时操作更简单、更愉悦、更高效；</a:t>
            </a:r>
            <a:br>
              <a:rPr lang="zh-CN" altLang="en-US" dirty="0"/>
            </a:br>
            <a:r>
              <a:rPr lang="en-US" altLang="zh-CN" dirty="0"/>
              <a:t>UX(user experience)</a:t>
            </a:r>
            <a:r>
              <a:rPr lang="zh-CN" altLang="en-US" dirty="0"/>
              <a:t>，就是指用户体验，单纯说用户体验是个很虚的词，我们不如说说哪些方面会影响到用户体验？</a:t>
            </a:r>
            <a:br>
              <a:rPr lang="zh-CN" altLang="en-US" dirty="0"/>
            </a:br>
            <a:r>
              <a:rPr lang="zh-CN" altLang="en-US" dirty="0"/>
              <a:t>用户使用产品（软件、硬件、电视、洗衣机等等都是产品）的目标是完成一个目标，就是去做一件事，每个人去做都希望：不要花太长时间、不要太复杂、不要让我想太多、不要弄得我不愉快、不要弄得我很紧张（焦虑）。反过来，影响这些因素的产品形态有：合理高效的流程、友好体贴的语言、操作容易理解、按键出现及时、界面舒适、不要太多无关内容影响（界面有效性）等等。</a:t>
            </a:r>
            <a:br>
              <a:rPr lang="zh-CN" altLang="en-US" dirty="0"/>
            </a:br>
            <a:r>
              <a:rPr lang="en-US" altLang="zh-CN" dirty="0"/>
              <a:t>UI</a:t>
            </a:r>
            <a:r>
              <a:rPr lang="zh-CN" altLang="en-US" dirty="0"/>
              <a:t>设计的过程，几乎渗透到</a:t>
            </a:r>
            <a:r>
              <a:rPr lang="en-US" altLang="zh-CN" dirty="0"/>
              <a:t>UX</a:t>
            </a:r>
            <a:r>
              <a:rPr lang="zh-CN" altLang="en-US" dirty="0"/>
              <a:t>的每一个节点，但更多的是去配合</a:t>
            </a:r>
            <a:r>
              <a:rPr lang="en-US" altLang="zh-CN" dirty="0"/>
              <a:t>UX</a:t>
            </a:r>
            <a:r>
              <a:rPr lang="zh-CN" altLang="en-US" dirty="0"/>
              <a:t>。比如一个界面，不考虑</a:t>
            </a:r>
            <a:r>
              <a:rPr lang="en-US" altLang="zh-CN" dirty="0"/>
              <a:t>UX</a:t>
            </a:r>
            <a:r>
              <a:rPr lang="zh-CN" altLang="en-US" dirty="0"/>
              <a:t>，也许</a:t>
            </a:r>
            <a:r>
              <a:rPr lang="en-US" altLang="zh-CN" dirty="0"/>
              <a:t>UI</a:t>
            </a:r>
            <a:r>
              <a:rPr lang="zh-CN" altLang="en-US" dirty="0"/>
              <a:t>做出来功能重点就不那么中肯。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6DCE0F6-D98A-4DA5-A84B-44A2E0BF5D7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251638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B6AEA21-98CC-47E6-9DB5-4549DBBABB40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332862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4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BA04FA-A95F-46F7-AF70-C2113BF92A6C}" type="datetimeFigureOut">
              <a:rPr lang="en-US" smtClean="0"/>
              <a:t>10/20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687345-31E9-473E-832B-4FBB0FD69A6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1774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BA04FA-A95F-46F7-AF70-C2113BF92A6C}" type="datetimeFigureOut">
              <a:rPr lang="en-US" smtClean="0"/>
              <a:t>10/20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687345-31E9-473E-832B-4FBB0FD69A6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453612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BA04FA-A95F-46F7-AF70-C2113BF92A6C}" type="datetimeFigureOut">
              <a:rPr lang="en-US" smtClean="0"/>
              <a:t>10/20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687345-31E9-473E-832B-4FBB0FD69A6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719447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&lt;Agenda&gt;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2001" y="1692000"/>
            <a:ext cx="11326284" cy="383181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b="0"/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"/>
              <a:tabLst/>
              <a:defRPr/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 pitchFamily="34" charset="0"/>
              <a:buChar char="–"/>
              <a:tabLst/>
              <a:defRPr/>
            </a:lvl3pPr>
            <a:lvl4pPr marL="533400" marR="0" indent="-1778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 pitchFamily="34" charset="0"/>
              <a:buChar char="–"/>
              <a:tabLst/>
              <a:defRPr sz="1600"/>
            </a:lvl4pPr>
            <a:lvl5pPr marL="540000">
              <a:buClr>
                <a:schemeClr val="accent2"/>
              </a:buClr>
              <a:buFont typeface="Courier New" pitchFamily="49" charset="0"/>
              <a:buChar char="o"/>
              <a:defRPr/>
            </a:lvl5pPr>
          </a:lstStyle>
          <a:p>
            <a:pPr lvl="0"/>
            <a:r>
              <a:rPr lang="en-US" dirty="0"/>
              <a:t>Agenda Item/Divider Headline</a:t>
            </a:r>
          </a:p>
          <a:p>
            <a:pPr lvl="1"/>
            <a:r>
              <a:rPr lang="en-US" dirty="0"/>
              <a:t>Details</a:t>
            </a:r>
          </a:p>
          <a:p>
            <a:pPr lvl="2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35140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DE43D273-A15E-4B64-AFD2-1388D749B6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83" y="720185"/>
            <a:ext cx="11615361" cy="432111"/>
          </a:xfrm>
        </p:spPr>
        <p:txBody>
          <a:bodyPr/>
          <a:lstStyle>
            <a:lvl1pPr>
              <a:defRPr kern="1200" baseline="0"/>
            </a:lvl1pPr>
          </a:lstStyle>
          <a:p>
            <a:r>
              <a:rPr lang="de-DE"/>
              <a:t>Add Slide Title</a:t>
            </a:r>
          </a:p>
        </p:txBody>
      </p:sp>
      <p:sp>
        <p:nvSpPr>
          <p:cNvPr id="15" name="Chapter_titleonly">
            <a:extLst>
              <a:ext uri="{FF2B5EF4-FFF2-40B4-BE49-F238E27FC236}">
                <a16:creationId xmlns:a16="http://schemas.microsoft.com/office/drawing/2014/main" id="{5B281E01-A653-4813-BC65-8900B31D115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8083" y="288074"/>
            <a:ext cx="11615361" cy="432111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3112" kern="0" baseline="0">
                <a:solidFill>
                  <a:schemeClr val="tx1"/>
                </a:solidFill>
              </a:defRPr>
            </a:lvl1pPr>
            <a:lvl2pPr marL="260030" indent="0">
              <a:buNone/>
              <a:defRPr sz="3112"/>
            </a:lvl2pPr>
            <a:lvl3pPr marL="584067" indent="0">
              <a:buNone/>
              <a:defRPr sz="3112"/>
            </a:lvl3pPr>
            <a:lvl4pPr marL="832094" indent="0">
              <a:buNone/>
              <a:defRPr sz="3112"/>
            </a:lvl4pPr>
            <a:lvl5pPr marL="832094" indent="0">
              <a:buNone/>
              <a:defRPr sz="3112"/>
            </a:lvl5pPr>
          </a:lstStyle>
          <a:p>
            <a:pPr lvl="0"/>
            <a:r>
              <a:rPr lang="en-US"/>
              <a:t>Add Chapter Title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96419" y="6255653"/>
            <a:ext cx="320415" cy="455906"/>
          </a:xfrm>
        </p:spPr>
        <p:txBody>
          <a:bodyPr/>
          <a:lstStyle>
            <a:lvl1pPr>
              <a:defRPr kern="0" baseline="0">
                <a:solidFill>
                  <a:srgbClr val="999FA6"/>
                </a:solidFill>
              </a:defRPr>
            </a:lvl1pPr>
          </a:lstStyle>
          <a:p>
            <a:fld id="{4898AEC0-503E-4FA4-859C-D0F72D6E3F79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28" name="Grafik 3" descr="bottom_d2_169.png">
            <a:extLst>
              <a:ext uri="{FF2B5EF4-FFF2-40B4-BE49-F238E27FC236}">
                <a16:creationId xmlns:a16="http://schemas.microsoft.com/office/drawing/2014/main" id="{EE92306B-89C4-4A4D-81C1-DE629B5A33A0}"/>
              </a:ext>
            </a:extLst>
          </p:cNvPr>
          <p:cNvPicPr>
            <a:picLocks noSelect="1"/>
          </p:cNvPicPr>
          <p:nvPr userDrawn="1">
            <p:custDataLst>
              <p:tags r:id="rId1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14381"/>
            <a:ext cx="12192706" cy="14397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35" name="Grafik 34" descr="logo2_d2.png">
            <a:extLst>
              <a:ext uri="{FF2B5EF4-FFF2-40B4-BE49-F238E27FC236}">
                <a16:creationId xmlns:a16="http://schemas.microsoft.com/office/drawing/2014/main" id="{4A0BB653-08E0-42FB-832C-B4ECC24A4E72}"/>
              </a:ext>
            </a:extLst>
          </p:cNvPr>
          <p:cNvPicPr>
            <a:picLocks noSelect="1"/>
          </p:cNvPicPr>
          <p:nvPr userDrawn="1">
            <p:custDataLst>
              <p:tags r:id="rId2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37816"/>
            <a:ext cx="151084" cy="720185"/>
          </a:xfrm>
          <a:prstGeom prst="rect">
            <a:avLst/>
          </a:prstGeom>
        </p:spPr>
      </p:pic>
      <p:sp>
        <p:nvSpPr>
          <p:cNvPr id="10" name="Rectangle7">
            <a:extLst>
              <a:ext uri="{FF2B5EF4-FFF2-40B4-BE49-F238E27FC236}">
                <a16:creationId xmlns:a16="http://schemas.microsoft.com/office/drawing/2014/main" id="{8883D326-CEAD-4903-8269-B2D194C3C224}"/>
              </a:ext>
            </a:extLst>
          </p:cNvPr>
          <p:cNvSpPr>
            <a:spLocks/>
          </p:cNvSpPr>
          <p:nvPr userDrawn="1"/>
        </p:nvSpPr>
        <p:spPr>
          <a:xfrm>
            <a:off x="10251866" y="287941"/>
            <a:ext cx="1880144" cy="863822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9760" rIns="0" bIns="0" rtlCol="0" anchor="t">
            <a:normAutofit/>
          </a:bodyPr>
          <a:lstStyle/>
          <a:p>
            <a:pPr marL="0" marR="0" lvl="0" indent="0" algn="l" defTabSz="1016190" rtl="0" eaLnBrk="1" fontAlgn="base" latinLnBrk="0" hangingPunct="1">
              <a:lnSpc>
                <a:spcPts val="1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11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t> </a:t>
            </a:r>
            <a:endParaRPr kumimoji="0" lang="en-GB" sz="611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pic>
        <p:nvPicPr>
          <p:cNvPr id="11" name="Grafik 4" descr="logo1_d2.png">
            <a:extLst>
              <a:ext uri="{FF2B5EF4-FFF2-40B4-BE49-F238E27FC236}">
                <a16:creationId xmlns:a16="http://schemas.microsoft.com/office/drawing/2014/main" id="{EA45B0BA-5E3B-4D0F-8BE3-B1AAA7A49623}"/>
              </a:ext>
            </a:extLst>
          </p:cNvPr>
          <p:cNvPicPr>
            <a:picLocks noSelect="1"/>
          </p:cNvPicPr>
          <p:nvPr userDrawn="1">
            <p:custDataLst>
              <p:tags r:id="rId3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7139" y="6073575"/>
            <a:ext cx="1216352" cy="639397"/>
          </a:xfrm>
          <a:prstGeom prst="rect">
            <a:avLst/>
          </a:prstGeom>
          <a:ln w="0">
            <a:noFill/>
          </a:ln>
          <a:effectLst/>
        </p:spPr>
      </p:pic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4D46C5CB-CB38-4AD2-99D2-34C738DF30C0}"/>
              </a:ext>
            </a:extLst>
          </p:cNvPr>
          <p:cNvSpPr>
            <a:spLocks noGrp="1"/>
          </p:cNvSpPr>
          <p:nvPr>
            <p:ph sz="quarter" idx="1" hasCustomPrompt="1"/>
          </p:nvPr>
        </p:nvSpPr>
        <p:spPr>
          <a:xfrm>
            <a:off x="287598" y="1440370"/>
            <a:ext cx="11615361" cy="463319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Add Text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7451618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BA04FA-A95F-46F7-AF70-C2113BF92A6C}" type="datetimeFigureOut">
              <a:rPr lang="en-US" smtClean="0"/>
              <a:t>10/20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687345-31E9-473E-832B-4FBB0FD69A6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03044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BA04FA-A95F-46F7-AF70-C2113BF92A6C}" type="datetimeFigureOut">
              <a:rPr lang="en-US" smtClean="0"/>
              <a:t>10/20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687345-31E9-473E-832B-4FBB0FD69A6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78690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BA04FA-A95F-46F7-AF70-C2113BF92A6C}" type="datetimeFigureOut">
              <a:rPr lang="en-US" smtClean="0"/>
              <a:t>10/20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687345-31E9-473E-832B-4FBB0FD69A6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30824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BA04FA-A95F-46F7-AF70-C2113BF92A6C}" type="datetimeFigureOut">
              <a:rPr lang="en-US" smtClean="0"/>
              <a:t>10/20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687345-31E9-473E-832B-4FBB0FD69A6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69380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BA04FA-A95F-46F7-AF70-C2113BF92A6C}" type="datetimeFigureOut">
              <a:rPr lang="en-US" smtClean="0"/>
              <a:t>10/20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687345-31E9-473E-832B-4FBB0FD69A6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96204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BA04FA-A95F-46F7-AF70-C2113BF92A6C}" type="datetimeFigureOut">
              <a:rPr lang="en-US" smtClean="0"/>
              <a:t>10/20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687345-31E9-473E-832B-4FBB0FD69A6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96336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BA04FA-A95F-46F7-AF70-C2113BF92A6C}" type="datetimeFigureOut">
              <a:rPr lang="en-US" smtClean="0"/>
              <a:t>10/20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687345-31E9-473E-832B-4FBB0FD69A6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88416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BA04FA-A95F-46F7-AF70-C2113BF92A6C}" type="datetimeFigureOut">
              <a:rPr lang="en-US" smtClean="0"/>
              <a:t>10/20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687345-31E9-473E-832B-4FBB0FD69A6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36846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5BA04FA-A95F-46F7-AF70-C2113BF92A6C}" type="datetimeFigureOut">
              <a:rPr lang="en-US" smtClean="0"/>
              <a:t>10/20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C687345-31E9-473E-832B-4FBB0FD69A6B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Grafik 6"/>
          <p:cNvPicPr>
            <a:picLocks/>
          </p:cNvPicPr>
          <p:nvPr userDrawn="1">
            <p:custDataLst>
              <p:tags r:id="rId15"/>
            </p:custDataLst>
          </p:nvPr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6116" y="6073573"/>
            <a:ext cx="1216730" cy="639398"/>
          </a:xfrm>
          <a:prstGeom prst="rect">
            <a:avLst/>
          </a:prstGeom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8" name="Grafik 5"/>
          <p:cNvPicPr>
            <a:picLocks/>
          </p:cNvPicPr>
          <p:nvPr userDrawn="1">
            <p:custDataLst>
              <p:tags r:id="rId16"/>
            </p:custDataLst>
          </p:nvPr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14382"/>
            <a:ext cx="12192706" cy="143970"/>
          </a:xfrm>
          <a:prstGeom prst="rect">
            <a:avLst/>
          </a:prstGeom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47424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3" r:id="rId10"/>
    <p:sldLayoutId id="2147483694" r:id="rId11"/>
    <p:sldLayoutId id="2147483695" r:id="rId12"/>
    <p:sldLayoutId id="2147483696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.xml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image" Target="../media/image6.png"/><Relationship Id="rId5" Type="http://schemas.openxmlformats.org/officeDocument/2006/relationships/tags" Target="../tags/tag10.xml"/><Relationship Id="rId10" Type="http://schemas.openxmlformats.org/officeDocument/2006/relationships/image" Target="../media/image1.emf"/><Relationship Id="rId4" Type="http://schemas.openxmlformats.org/officeDocument/2006/relationships/tags" Target="../tags/tag9.xml"/><Relationship Id="rId9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40.wmf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hyperlink" Target="https://www.youtube.com/watch?v=Io9HfoVkGVU&amp;feature=youtu.be" TargetMode="External"/><Relationship Id="rId4" Type="http://schemas.openxmlformats.org/officeDocument/2006/relationships/image" Target="../media/image41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3" Type="http://schemas.openxmlformats.org/officeDocument/2006/relationships/tags" Target="../tags/tag44.xml"/><Relationship Id="rId7" Type="http://schemas.openxmlformats.org/officeDocument/2006/relationships/image" Target="../media/image43.png"/><Relationship Id="rId12" Type="http://schemas.openxmlformats.org/officeDocument/2006/relationships/image" Target="../media/image48.png"/><Relationship Id="rId2" Type="http://schemas.openxmlformats.org/officeDocument/2006/relationships/tags" Target="../tags/tag4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2.emf"/><Relationship Id="rId11" Type="http://schemas.openxmlformats.org/officeDocument/2006/relationships/image" Target="../media/image47.pn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46.png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45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image" Target="../media/image53.png"/><Relationship Id="rId3" Type="http://schemas.openxmlformats.org/officeDocument/2006/relationships/tags" Target="../tags/tag47.xml"/><Relationship Id="rId7" Type="http://schemas.openxmlformats.org/officeDocument/2006/relationships/tags" Target="../tags/tag51.xml"/><Relationship Id="rId12" Type="http://schemas.openxmlformats.org/officeDocument/2006/relationships/image" Target="../media/image52.png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tags" Target="../tags/tag50.xml"/><Relationship Id="rId11" Type="http://schemas.openxmlformats.org/officeDocument/2006/relationships/image" Target="../media/image51.png"/><Relationship Id="rId5" Type="http://schemas.openxmlformats.org/officeDocument/2006/relationships/tags" Target="../tags/tag49.xml"/><Relationship Id="rId10" Type="http://schemas.openxmlformats.org/officeDocument/2006/relationships/image" Target="../media/image50.png"/><Relationship Id="rId4" Type="http://schemas.openxmlformats.org/officeDocument/2006/relationships/tags" Target="../tags/tag48.xml"/><Relationship Id="rId9" Type="http://schemas.openxmlformats.org/officeDocument/2006/relationships/image" Target="../media/image49.jpeg"/><Relationship Id="rId14" Type="http://schemas.openxmlformats.org/officeDocument/2006/relationships/image" Target="../media/image54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jpe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3" Type="http://schemas.openxmlformats.org/officeDocument/2006/relationships/tags" Target="../tags/tag15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tags" Target="../tags/tag18.xml"/><Relationship Id="rId5" Type="http://schemas.openxmlformats.org/officeDocument/2006/relationships/tags" Target="../tags/tag17.xml"/><Relationship Id="rId4" Type="http://schemas.openxmlformats.org/officeDocument/2006/relationships/tags" Target="../tags/tag1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videos.cdn.sap.com/vod/2015/ext/what-is-a-good-user-experience.mp4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videos.cdn.sap.com/vod/2015/ext/what-is-sap-fiori.mp4" TargetMode="Externa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tags" Target="../tags/tag31.xml"/><Relationship Id="rId18" Type="http://schemas.openxmlformats.org/officeDocument/2006/relationships/tags" Target="../tags/tag36.xml"/><Relationship Id="rId26" Type="http://schemas.openxmlformats.org/officeDocument/2006/relationships/image" Target="../media/image8.png"/><Relationship Id="rId3" Type="http://schemas.openxmlformats.org/officeDocument/2006/relationships/tags" Target="../tags/tag21.xml"/><Relationship Id="rId21" Type="http://schemas.openxmlformats.org/officeDocument/2006/relationships/tags" Target="../tags/tag39.xml"/><Relationship Id="rId7" Type="http://schemas.openxmlformats.org/officeDocument/2006/relationships/tags" Target="../tags/tag25.xml"/><Relationship Id="rId12" Type="http://schemas.openxmlformats.org/officeDocument/2006/relationships/tags" Target="../tags/tag30.xml"/><Relationship Id="rId17" Type="http://schemas.openxmlformats.org/officeDocument/2006/relationships/tags" Target="../tags/tag35.xml"/><Relationship Id="rId25" Type="http://schemas.openxmlformats.org/officeDocument/2006/relationships/slideLayout" Target="../slideLayouts/slideLayout2.xml"/><Relationship Id="rId2" Type="http://schemas.openxmlformats.org/officeDocument/2006/relationships/tags" Target="../tags/tag20.xml"/><Relationship Id="rId16" Type="http://schemas.openxmlformats.org/officeDocument/2006/relationships/tags" Target="../tags/tag34.xml"/><Relationship Id="rId20" Type="http://schemas.openxmlformats.org/officeDocument/2006/relationships/tags" Target="../tags/tag38.xml"/><Relationship Id="rId29" Type="http://schemas.openxmlformats.org/officeDocument/2006/relationships/image" Target="../media/image10.png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tags" Target="../tags/tag29.xml"/><Relationship Id="rId24" Type="http://schemas.openxmlformats.org/officeDocument/2006/relationships/tags" Target="../tags/tag42.xml"/><Relationship Id="rId5" Type="http://schemas.openxmlformats.org/officeDocument/2006/relationships/tags" Target="../tags/tag23.xml"/><Relationship Id="rId15" Type="http://schemas.openxmlformats.org/officeDocument/2006/relationships/tags" Target="../tags/tag33.xml"/><Relationship Id="rId23" Type="http://schemas.openxmlformats.org/officeDocument/2006/relationships/tags" Target="../tags/tag41.xml"/><Relationship Id="rId28" Type="http://schemas.openxmlformats.org/officeDocument/2006/relationships/image" Target="../media/image9.png"/><Relationship Id="rId10" Type="http://schemas.openxmlformats.org/officeDocument/2006/relationships/tags" Target="../tags/tag28.xml"/><Relationship Id="rId19" Type="http://schemas.openxmlformats.org/officeDocument/2006/relationships/tags" Target="../tags/tag37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tags" Target="../tags/tag32.xml"/><Relationship Id="rId22" Type="http://schemas.openxmlformats.org/officeDocument/2006/relationships/tags" Target="../tags/tag40.xml"/><Relationship Id="rId27" Type="http://schemas.openxmlformats.org/officeDocument/2006/relationships/hyperlink" Target="https://fioriappslibrary.hana.ondemand.com/sap/fix/externalViewer/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12" Type="http://schemas.openxmlformats.org/officeDocument/2006/relationships/image" Target="../media/image27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1.png"/><Relationship Id="rId11" Type="http://schemas.openxmlformats.org/officeDocument/2006/relationships/image" Target="../media/image26.png"/><Relationship Id="rId5" Type="http://schemas.openxmlformats.org/officeDocument/2006/relationships/image" Target="../media/image20.png"/><Relationship Id="rId10" Type="http://schemas.openxmlformats.org/officeDocument/2006/relationships/image" Target="../media/image25.png"/><Relationship Id="rId4" Type="http://schemas.openxmlformats.org/officeDocument/2006/relationships/image" Target="../media/image19.png"/><Relationship Id="rId9" Type="http://schemas.openxmlformats.org/officeDocument/2006/relationships/image" Target="../media/image2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>
          <a:solidFill>
            <a:scrgbClr r="0" g="0" b="0">
              <a:alpha val="0"/>
            </a:scrgbClr>
          </a:soli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r>
              <a:rPr lang="de-DE" dirty="0"/>
              <a:t>Fiori@Bosch</a:t>
            </a:r>
          </a:p>
        </p:txBody>
      </p:sp>
      <p:sp>
        <p:nvSpPr>
          <p:cNvPr id="3" name="Untertitel 2" hidden="1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solidFill>
            <a:scrgbClr r="0" g="0" b="0">
              <a:alpha val="0"/>
            </a:scrgbClr>
          </a:soli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>
              <a:solidFill>
                <a:srgbClr val="000000"/>
              </a:solidFill>
            </a:endParaRPr>
          </a:p>
        </p:txBody>
      </p:sp>
      <p:pic>
        <p:nvPicPr>
          <p:cNvPr id="9" name="Grafik 8"/>
          <p:cNvPicPr>
            <a:picLocks/>
          </p:cNvPicPr>
          <p:nvPr>
            <p:custDataLst>
              <p:tags r:id="rId4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" y="0"/>
            <a:ext cx="12192314" cy="6858353"/>
          </a:xfrm>
          <a:prstGeom prst="rect">
            <a:avLst/>
          </a:prstGeom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8" name="Grafik 7"/>
          <p:cNvPicPr>
            <a:picLocks/>
          </p:cNvPicPr>
          <p:nvPr>
            <p:custDataLst>
              <p:tags r:id="rId5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5964" y="6073573"/>
            <a:ext cx="1216691" cy="639398"/>
          </a:xfrm>
          <a:prstGeom prst="rect">
            <a:avLst/>
          </a:prstGeom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7" name="Grafik 6"/>
          <p:cNvPicPr>
            <a:picLocks/>
          </p:cNvPicPr>
          <p:nvPr>
            <p:custDataLst>
              <p:tags r:id="rId6"/>
            </p:custDataLst>
          </p:nvPr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48540" y="0"/>
            <a:ext cx="143970" cy="6858353"/>
          </a:xfrm>
          <a:prstGeom prst="rect">
            <a:avLst/>
          </a:prstGeom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0" name="Titel 1_"/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427299" y="1122363"/>
            <a:ext cx="10918409" cy="1759108"/>
          </a:xfrm>
          <a:prstGeom prst="rect">
            <a:avLst/>
          </a:prstGeom>
          <a:solidFill>
            <a:scrgbClr r="0" g="0" b="0">
              <a:alpha val="0"/>
            </a:scrgbClr>
          </a:solidFill>
          <a:ln w="0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8000" b="0" i="0" u="none" cap="all" spc="0">
                <a:solidFill>
                  <a:srgbClr val="FFFFFF"/>
                </a:solidFill>
                <a:latin typeface="Bosch Office Sans" panose="020B0604020202020204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111000"/>
              </a:lnSpc>
              <a:spcBef>
                <a:spcPct val="0"/>
              </a:spcBef>
              <a:spcAft>
                <a:spcPct val="0"/>
              </a:spcAft>
              <a:defRPr sz="1822">
                <a:solidFill>
                  <a:srgbClr val="000000"/>
                </a:solidFill>
                <a:latin typeface="Bosch Office Sans"/>
              </a:defRPr>
            </a:lvl2pPr>
            <a:lvl3pPr algn="l" rtl="0" eaLnBrk="1" fontAlgn="base" hangingPunct="1">
              <a:lnSpc>
                <a:spcPct val="111000"/>
              </a:lnSpc>
              <a:spcBef>
                <a:spcPct val="0"/>
              </a:spcBef>
              <a:spcAft>
                <a:spcPct val="0"/>
              </a:spcAft>
              <a:defRPr sz="1822">
                <a:solidFill>
                  <a:srgbClr val="000000"/>
                </a:solidFill>
                <a:latin typeface="Bosch Office Sans"/>
              </a:defRPr>
            </a:lvl3pPr>
            <a:lvl4pPr algn="l" rtl="0" eaLnBrk="1" fontAlgn="base" hangingPunct="1">
              <a:lnSpc>
                <a:spcPct val="111000"/>
              </a:lnSpc>
              <a:spcBef>
                <a:spcPct val="0"/>
              </a:spcBef>
              <a:spcAft>
                <a:spcPct val="0"/>
              </a:spcAft>
              <a:defRPr sz="1822">
                <a:solidFill>
                  <a:srgbClr val="000000"/>
                </a:solidFill>
                <a:latin typeface="Bosch Office Sans"/>
              </a:defRPr>
            </a:lvl4pPr>
            <a:lvl5pPr algn="l" rtl="0" eaLnBrk="1" fontAlgn="base" hangingPunct="1">
              <a:lnSpc>
                <a:spcPct val="111000"/>
              </a:lnSpc>
              <a:spcBef>
                <a:spcPct val="0"/>
              </a:spcBef>
              <a:spcAft>
                <a:spcPct val="0"/>
              </a:spcAft>
              <a:defRPr sz="1822">
                <a:solidFill>
                  <a:srgbClr val="000000"/>
                </a:solidFill>
                <a:latin typeface="Bosch Office Sans"/>
              </a:defRPr>
            </a:lvl5pPr>
            <a:lvl6pPr marL="308410" algn="l" rtl="0" eaLnBrk="1" fontAlgn="base" hangingPunct="1">
              <a:lnSpc>
                <a:spcPct val="111000"/>
              </a:lnSpc>
              <a:spcBef>
                <a:spcPct val="0"/>
              </a:spcBef>
              <a:spcAft>
                <a:spcPct val="0"/>
              </a:spcAft>
              <a:defRPr sz="1822">
                <a:solidFill>
                  <a:srgbClr val="000000"/>
                </a:solidFill>
                <a:latin typeface="Bosch Office Sans"/>
              </a:defRPr>
            </a:lvl6pPr>
            <a:lvl7pPr marL="616819" algn="l" rtl="0" eaLnBrk="1" fontAlgn="base" hangingPunct="1">
              <a:lnSpc>
                <a:spcPct val="111000"/>
              </a:lnSpc>
              <a:spcBef>
                <a:spcPct val="0"/>
              </a:spcBef>
              <a:spcAft>
                <a:spcPct val="0"/>
              </a:spcAft>
              <a:defRPr sz="1822">
                <a:solidFill>
                  <a:srgbClr val="000000"/>
                </a:solidFill>
                <a:latin typeface="Bosch Office Sans"/>
              </a:defRPr>
            </a:lvl7pPr>
            <a:lvl8pPr marL="925228" algn="l" rtl="0" eaLnBrk="1" fontAlgn="base" hangingPunct="1">
              <a:lnSpc>
                <a:spcPct val="111000"/>
              </a:lnSpc>
              <a:spcBef>
                <a:spcPct val="0"/>
              </a:spcBef>
              <a:spcAft>
                <a:spcPct val="0"/>
              </a:spcAft>
              <a:defRPr sz="1822">
                <a:solidFill>
                  <a:srgbClr val="000000"/>
                </a:solidFill>
                <a:latin typeface="Bosch Office Sans"/>
              </a:defRPr>
            </a:lvl8pPr>
            <a:lvl9pPr marL="1233638" algn="l" rtl="0" eaLnBrk="1" fontAlgn="base" hangingPunct="1">
              <a:lnSpc>
                <a:spcPct val="111000"/>
              </a:lnSpc>
              <a:spcBef>
                <a:spcPct val="0"/>
              </a:spcBef>
              <a:spcAft>
                <a:spcPct val="0"/>
              </a:spcAft>
              <a:defRPr sz="1822">
                <a:solidFill>
                  <a:srgbClr val="000000"/>
                </a:solidFill>
                <a:latin typeface="Bosch Office Sans"/>
              </a:defRPr>
            </a:lvl9pPr>
          </a:lstStyle>
          <a:p>
            <a:pPr marL="0" marR="0" lvl="0" indent="0" algn="l" defTabSz="1016264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200" b="0" i="0" u="none" strike="noStrike" kern="0" cap="all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osch Office Sans" panose="020B0604020202020204" pitchFamily="34" charset="0"/>
                <a:ea typeface="+mj-ea"/>
                <a:cs typeface="Arial" pitchFamily="34" charset="0"/>
              </a:rPr>
              <a:t>SAP Fiori</a:t>
            </a:r>
            <a:r>
              <a:rPr kumimoji="0" lang="de-DE" sz="7200" b="0" i="0" u="none" strike="noStrike" kern="0" cap="all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osch Office Sans" panose="020B0604020202020204" pitchFamily="34" charset="0"/>
                <a:ea typeface="+mj-ea"/>
                <a:cs typeface="Arial" pitchFamily="34" charset="0"/>
              </a:rPr>
              <a:t> for S/4Hana</a:t>
            </a:r>
            <a:endParaRPr kumimoji="0" lang="de-DE" sz="7200" b="0" i="0" u="none" strike="noStrike" kern="0" cap="all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osch Office Sans" panose="020B0604020202020204" pitchFamily="34" charset="0"/>
              <a:ea typeface="+mj-ea"/>
              <a:cs typeface="Arial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457514" y="3187435"/>
            <a:ext cx="6096000" cy="707630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l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Pct val="80000"/>
              <a:buFontTx/>
              <a:buNone/>
              <a:tabLst/>
              <a:defRPr/>
            </a:pPr>
            <a:r>
              <a:rPr kumimoji="0" lang="en-US" altLang="zh-CN" sz="1999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brina Li</a:t>
            </a:r>
            <a:r>
              <a:rPr kumimoji="0" lang="en-US" sz="19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/>
            </a:r>
            <a:br>
              <a:rPr kumimoji="0" lang="en-US" sz="19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lang="en-US" sz="1999" noProof="0" smtClean="0">
                <a:solidFill>
                  <a:srgbClr val="FFFFFF"/>
                </a:solidFill>
                <a:latin typeface="Calibri" panose="020F0502020204030204"/>
              </a:rPr>
              <a:t>Oct</a:t>
            </a:r>
            <a:r>
              <a:rPr kumimoji="0" lang="en-US" altLang="zh-CN" sz="1999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  <a:r>
              <a:rPr kumimoji="0" lang="en-US" sz="1999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999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20</a:t>
            </a:r>
            <a:endParaRPr kumimoji="0" lang="en-US" sz="199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ConfidentialFlag"/>
          <p:cNvSpPr txBox="1"/>
          <p:nvPr/>
        </p:nvSpPr>
        <p:spPr>
          <a:xfrm>
            <a:off x="10782464" y="5573704"/>
            <a:ext cx="1126489" cy="246157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r" defTabSz="914126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Arial Unicode MS" pitchFamily="34" charset="-128"/>
                <a:cs typeface="Arial Unicode MS" pitchFamily="34" charset="-128"/>
              </a:rPr>
              <a:t>Confidentia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517595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324000" y="324075"/>
            <a:ext cx="11545200" cy="756175"/>
          </a:xfrm>
        </p:spPr>
        <p:txBody>
          <a:bodyPr vert="horz" lIns="0" tIns="0" rIns="0" bIns="0" rtlCol="0" anchor="ctr" anchorCtr="0">
            <a:normAutofit/>
          </a:bodyPr>
          <a:lstStyle/>
          <a:p>
            <a:pPr lvl="2" algn="l" defTabSz="913749" rtl="0">
              <a:spcBef>
                <a:spcPct val="0"/>
              </a:spcBef>
            </a:pPr>
            <a:r>
              <a:rPr lang="en-US" sz="2400" b="1" kern="1200" dirty="0">
                <a:solidFill>
                  <a:schemeClr val="accent2"/>
                </a:solidFill>
                <a:latin typeface="+mj-lt"/>
                <a:ea typeface="+mj-ea"/>
                <a:cs typeface="Helvetica"/>
              </a:rPr>
              <a:t>Fiori helps increase productivity: </a:t>
            </a:r>
            <a:br>
              <a:rPr lang="en-US" sz="2400" b="1" kern="1200" dirty="0">
                <a:solidFill>
                  <a:schemeClr val="accent2"/>
                </a:solidFill>
                <a:latin typeface="+mj-lt"/>
                <a:ea typeface="+mj-ea"/>
                <a:cs typeface="Helvetica"/>
              </a:rPr>
            </a:br>
            <a:r>
              <a:rPr lang="en-US" sz="2000" kern="1200" dirty="0">
                <a:solidFill>
                  <a:schemeClr val="accent2"/>
                </a:solidFill>
                <a:latin typeface="+mn-lt"/>
                <a:ea typeface="+mj-ea"/>
                <a:cs typeface="Helvetica"/>
              </a:rPr>
              <a:t>Consistent UI Across App</a:t>
            </a:r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8133230" y="1473424"/>
            <a:ext cx="3696981" cy="4392043"/>
          </a:xfrm>
        </p:spPr>
        <p:txBody>
          <a:bodyPr/>
          <a:lstStyle/>
          <a:p>
            <a:pPr lvl="1" defTabSz="914339" fontAlgn="base">
              <a:spcBef>
                <a:spcPts val="800"/>
              </a:spcBef>
              <a:spcAft>
                <a:spcPts val="600"/>
              </a:spcAft>
              <a:buClr>
                <a:srgbClr val="F0AB00"/>
              </a:buClr>
              <a:defRPr/>
            </a:pPr>
            <a:r>
              <a:rPr lang="en-US" sz="1700" b="1" dirty="0">
                <a:cs typeface="Helvetica"/>
              </a:rPr>
              <a:t>Capabilities:</a:t>
            </a:r>
          </a:p>
          <a:p>
            <a:pPr marL="381040" lvl="1" indent="-381040" defTabSz="914339" fontAlgn="base">
              <a:spcBef>
                <a:spcPts val="800"/>
              </a:spcBef>
              <a:spcAft>
                <a:spcPts val="600"/>
              </a:spcAft>
              <a:buClr>
                <a:srgbClr val="F0AB00"/>
              </a:buClr>
              <a:buFont typeface="Wingdings" pitchFamily="2" charset="2"/>
              <a:buChar char="Ø"/>
              <a:defRPr/>
            </a:pPr>
            <a:r>
              <a:rPr lang="en-US" sz="1600" dirty="0">
                <a:solidFill>
                  <a:srgbClr val="000000"/>
                </a:solidFill>
                <a:cs typeface="Helvetica"/>
              </a:rPr>
              <a:t>Consistent experience across all apps, same structure, icons, etc.</a:t>
            </a:r>
          </a:p>
          <a:p>
            <a:pPr marL="381040" lvl="1" indent="-381040" defTabSz="914339" fontAlgn="base">
              <a:spcBef>
                <a:spcPts val="800"/>
              </a:spcBef>
              <a:spcAft>
                <a:spcPts val="600"/>
              </a:spcAft>
              <a:buClr>
                <a:srgbClr val="F0AB00"/>
              </a:buClr>
              <a:buFont typeface="Wingdings" pitchFamily="2" charset="2"/>
              <a:buChar char="Ø"/>
              <a:defRPr/>
            </a:pPr>
            <a:r>
              <a:rPr lang="en-US" sz="1600" dirty="0">
                <a:solidFill>
                  <a:srgbClr val="000000"/>
                </a:solidFill>
                <a:cs typeface="Helvetica"/>
              </a:rPr>
              <a:t>Provides an optimal user experience across all device types</a:t>
            </a:r>
          </a:p>
          <a:p>
            <a:r>
              <a:rPr lang="en-US" sz="1700" dirty="0">
                <a:cs typeface="Helvetica"/>
              </a:rPr>
              <a:t>Benefits:</a:t>
            </a:r>
          </a:p>
          <a:p>
            <a:pPr marL="381040" lvl="1" indent="-381040" defTabSz="914339" fontAlgn="base">
              <a:spcBef>
                <a:spcPts val="800"/>
              </a:spcBef>
              <a:spcAft>
                <a:spcPts val="600"/>
              </a:spcAft>
              <a:buClr>
                <a:srgbClr val="F0AB00"/>
              </a:buClr>
              <a:buFont typeface="Wingdings" pitchFamily="2" charset="2"/>
              <a:buChar char="Ø"/>
              <a:defRPr/>
            </a:pPr>
            <a:r>
              <a:rPr lang="en-US" sz="1600" dirty="0">
                <a:solidFill>
                  <a:srgbClr val="000000"/>
                </a:solidFill>
                <a:cs typeface="Helvetica"/>
              </a:rPr>
              <a:t>Users can switch across apps without effort</a:t>
            </a:r>
          </a:p>
          <a:p>
            <a:pPr marL="381040" lvl="1" indent="-381040" defTabSz="914339" fontAlgn="base">
              <a:spcBef>
                <a:spcPts val="800"/>
              </a:spcBef>
              <a:spcAft>
                <a:spcPts val="600"/>
              </a:spcAft>
              <a:buClr>
                <a:srgbClr val="F0AB00"/>
              </a:buClr>
              <a:buFont typeface="Wingdings" pitchFamily="2" charset="2"/>
              <a:buChar char="Ø"/>
              <a:defRPr/>
            </a:pPr>
            <a:r>
              <a:rPr lang="en-US" sz="1600" dirty="0">
                <a:solidFill>
                  <a:srgbClr val="000000"/>
                </a:solidFill>
                <a:cs typeface="Helvetica"/>
              </a:rPr>
              <a:t>Accelerates task execution</a:t>
            </a:r>
          </a:p>
          <a:p>
            <a:r>
              <a:rPr lang="en-US" sz="1700" kern="0" dirty="0">
                <a:solidFill>
                  <a:srgbClr val="000000"/>
                </a:solidFill>
                <a:ea typeface="Arial Unicode MS" pitchFamily="34" charset="-128"/>
                <a:cs typeface="Helvetica"/>
              </a:rPr>
              <a:t>Different Apps – Same Great Experience!!</a:t>
            </a:r>
          </a:p>
          <a:p>
            <a:endParaRPr lang="en-US" sz="1700" b="0" dirty="0">
              <a:latin typeface="Helvetica"/>
              <a:cs typeface="Helvetica"/>
            </a:endParaRPr>
          </a:p>
          <a:p>
            <a:endParaRPr lang="en-US" sz="1700" b="0" dirty="0">
              <a:latin typeface="Helvetica"/>
              <a:cs typeface="Helvetica"/>
            </a:endParaRPr>
          </a:p>
        </p:txBody>
      </p:sp>
      <p:pic>
        <p:nvPicPr>
          <p:cNvPr id="6" name="Picture 4" descr="C:\Users\I834579\Desktop\L2_PPT_IMAGES\one_UI_Sales.PN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4531" y="1610334"/>
            <a:ext cx="3599719" cy="293992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5" descr="C:\Users\I834579\Desktop\L2_PPT_IMAGES\One_UI_Manufacturing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58558" y="2328057"/>
            <a:ext cx="3562102" cy="292045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3221278" y="1307883"/>
            <a:ext cx="777457" cy="32316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Arial Unicode MS" pitchFamily="34" charset="-128"/>
                <a:cs typeface="Helvetica"/>
              </a:rPr>
              <a:t>Sales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2824758" y="4190120"/>
            <a:ext cx="1928413" cy="32316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ea typeface="Arial Unicode MS" pitchFamily="34" charset="-128"/>
                <a:cs typeface="Helvetica"/>
              </a:rPr>
              <a:t>HCM Workflow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283149" y="2795917"/>
            <a:ext cx="1466748" cy="32316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Arial Unicode MS" pitchFamily="34" charset="-128"/>
                <a:cs typeface="Helvetica"/>
              </a:rPr>
              <a:t>Purchasing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6496540" y="3565466"/>
            <a:ext cx="612347" cy="32316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Arial Unicode MS" pitchFamily="34" charset="-128"/>
                <a:cs typeface="Helvetica"/>
              </a:rPr>
              <a:t>HCM</a:t>
            </a:r>
          </a:p>
        </p:txBody>
      </p:sp>
      <p:pic>
        <p:nvPicPr>
          <p:cNvPr id="12" name="Picture 6" descr="C:\Users\I834579\Desktop\L2_PPT_IMAGES\Purchasing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44966" y="3109458"/>
            <a:ext cx="3712116" cy="288216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3681393" y="3852569"/>
            <a:ext cx="3712116" cy="289223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/>
          <p:cNvSpPr txBox="1"/>
          <p:nvPr/>
        </p:nvSpPr>
        <p:spPr>
          <a:xfrm>
            <a:off x="4281330" y="1967919"/>
            <a:ext cx="1856277" cy="32316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Arial Unicode MS" pitchFamily="34" charset="-128"/>
                <a:cs typeface="Helvetica"/>
              </a:rPr>
              <a:t>Manufacturing</a:t>
            </a:r>
          </a:p>
        </p:txBody>
      </p:sp>
      <p:pic>
        <p:nvPicPr>
          <p:cNvPr id="15" name="Picture 2_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86720" y="182873"/>
            <a:ext cx="1014365" cy="10179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6" name="Foliennummernplatzhalter 3"/>
          <p:cNvSpPr txBox="1">
            <a:spLocks/>
          </p:cNvSpPr>
          <p:nvPr/>
        </p:nvSpPr>
        <p:spPr>
          <a:xfrm>
            <a:off x="296419" y="6255653"/>
            <a:ext cx="558987" cy="455906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33"/>
            <a:fld id="{4898AEC0-503E-4FA4-859C-D0F72D6E3F79}" type="slidenum">
              <a:rPr lang="de-DE" sz="1330" smtClean="0">
                <a:solidFill>
                  <a:schemeClr val="tx1">
                    <a:lumMod val="50000"/>
                    <a:lumOff val="50000"/>
                  </a:schemeClr>
                </a:solidFill>
                <a:latin typeface="Bosch Office Sans"/>
              </a:rPr>
              <a:pPr defTabSz="914333"/>
              <a:t>10</a:t>
            </a:fld>
            <a:endParaRPr lang="de-DE" sz="1330" dirty="0">
              <a:solidFill>
                <a:schemeClr val="tx1">
                  <a:lumMod val="50000"/>
                  <a:lumOff val="50000"/>
                </a:schemeClr>
              </a:solidFill>
              <a:latin typeface="Bosch Office Sans"/>
            </a:endParaRPr>
          </a:p>
        </p:txBody>
      </p:sp>
    </p:spTree>
    <p:extLst>
      <p:ext uri="{BB962C8B-B14F-4D97-AF65-F5344CB8AC3E}">
        <p14:creationId xmlns:p14="http://schemas.microsoft.com/office/powerpoint/2010/main" val="34026068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324000" y="324075"/>
            <a:ext cx="11545200" cy="756175"/>
          </a:xfrm>
        </p:spPr>
        <p:txBody>
          <a:bodyPr vert="horz" lIns="0" tIns="0" rIns="0" bIns="0" rtlCol="0" anchor="ctr" anchorCtr="0">
            <a:normAutofit/>
          </a:bodyPr>
          <a:lstStyle/>
          <a:p>
            <a:pPr lvl="2" algn="l" defTabSz="913749" rtl="0">
              <a:spcBef>
                <a:spcPct val="0"/>
              </a:spcBef>
            </a:pPr>
            <a:r>
              <a:rPr lang="en-US" altLang="ja-JP" sz="2400" b="1" kern="1200" dirty="0">
                <a:solidFill>
                  <a:schemeClr val="accent2"/>
                </a:solidFill>
                <a:latin typeface="+mj-lt"/>
                <a:ea typeface="+mj-ea"/>
                <a:cs typeface="Helvetica"/>
              </a:rPr>
              <a:t>SAP Fiori UX Design Principles</a:t>
            </a:r>
            <a:r>
              <a:rPr lang="en-US" sz="2400" b="1" kern="1200" dirty="0">
                <a:solidFill>
                  <a:schemeClr val="accent2"/>
                </a:solidFill>
                <a:latin typeface="+mj-lt"/>
                <a:ea typeface="+mj-ea"/>
                <a:cs typeface="Helvetica"/>
              </a:rPr>
              <a:t/>
            </a:r>
            <a:br>
              <a:rPr lang="en-US" sz="2400" b="1" kern="1200" dirty="0">
                <a:solidFill>
                  <a:schemeClr val="accent2"/>
                </a:solidFill>
                <a:latin typeface="+mj-lt"/>
                <a:ea typeface="+mj-ea"/>
                <a:cs typeface="Helvetica"/>
              </a:rPr>
            </a:br>
            <a:r>
              <a:rPr lang="en-US" sz="2000" dirty="0">
                <a:solidFill>
                  <a:srgbClr val="666666"/>
                </a:solidFill>
                <a:latin typeface="+mj-lt"/>
                <a:cs typeface="Helvetica"/>
              </a:rPr>
              <a:t>Delightful</a:t>
            </a:r>
            <a:endParaRPr lang="en-US" sz="2000" b="1" kern="1200" dirty="0">
              <a:solidFill>
                <a:schemeClr val="accent2"/>
              </a:solidFill>
              <a:latin typeface="+mj-lt"/>
              <a:ea typeface="+mj-ea"/>
              <a:cs typeface="Helvetica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24465" y="1504335"/>
            <a:ext cx="11557944" cy="37548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Arial Unicode MS" pitchFamily="34" charset="-128"/>
                <a:cs typeface="Arial Unicode MS" pitchFamily="34" charset="-128"/>
              </a:rPr>
              <a:t>Delightful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Arial Unicode MS" pitchFamily="34" charset="-128"/>
                <a:cs typeface="Arial Unicode MS" pitchFamily="34" charset="-128"/>
              </a:rPr>
              <a:t>Make an emotional connection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Arial Unicode MS" pitchFamily="34" charset="-128"/>
              <a:cs typeface="Arial Unicode MS" pitchFamily="34" charset="-128"/>
            </a:endParaRPr>
          </a:p>
          <a:p>
            <a:pPr marL="0" marR="0" lvl="0" indent="0" algn="l" defTabSz="914400" rtl="0" eaLnBrk="1" fontAlgn="base" latinLnBrk="0" hangingPunct="1">
              <a:lnSpc>
                <a:spcPct val="150000"/>
              </a:lnSpc>
              <a:spcBef>
                <a:spcPts val="6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2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Arial Unicode MS" pitchFamily="34" charset="-128"/>
                <a:cs typeface="Arial Unicode MS" pitchFamily="34" charset="-128"/>
              </a:rPr>
              <a:t>Make me better at my job and feel like I’m an expert.</a:t>
            </a:r>
          </a:p>
          <a:p>
            <a:pPr marL="0" marR="0" lvl="0" indent="0" algn="l" defTabSz="914400" rtl="0" eaLnBrk="1" fontAlgn="base" latinLnBrk="0" hangingPunct="1">
              <a:lnSpc>
                <a:spcPct val="150000"/>
              </a:lnSpc>
              <a:spcBef>
                <a:spcPts val="6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2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Arial Unicode MS" pitchFamily="34" charset="-128"/>
                <a:cs typeface="Arial Unicode MS" pitchFamily="34" charset="-128"/>
              </a:rPr>
              <a:t>Show me the impact of my contribution.</a:t>
            </a:r>
          </a:p>
          <a:p>
            <a:pPr marL="0" marR="0" lvl="0" indent="0" algn="l" defTabSz="914400" rtl="0" eaLnBrk="1" fontAlgn="base" latinLnBrk="0" hangingPunct="1">
              <a:lnSpc>
                <a:spcPct val="150000"/>
              </a:lnSpc>
              <a:spcBef>
                <a:spcPts val="6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2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Arial Unicode MS" pitchFamily="34" charset="-128"/>
                <a:cs typeface="Arial Unicode MS" pitchFamily="34" charset="-128"/>
              </a:rPr>
              <a:t>Go beyond what’s expected; amaze me!</a:t>
            </a:r>
          </a:p>
          <a:p>
            <a:pPr marL="0" marR="0" lvl="0" indent="0" algn="l" defTabSz="914400" rtl="0" eaLnBrk="1" fontAlgn="base" latinLnBrk="0" hangingPunct="1">
              <a:lnSpc>
                <a:spcPct val="150000"/>
              </a:lnSpc>
              <a:spcBef>
                <a:spcPts val="6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2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Arial Unicode MS" pitchFamily="34" charset="-128"/>
                <a:cs typeface="Arial Unicode MS" pitchFamily="34" charset="-128"/>
              </a:rPr>
              <a:t>Be smart and proactive. Give me an assistant not just a tool.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94094" y="190251"/>
            <a:ext cx="1014364" cy="10179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Rounded Rectangle 6"/>
          <p:cNvSpPr/>
          <p:nvPr/>
        </p:nvSpPr>
        <p:spPr bwMode="gray">
          <a:xfrm>
            <a:off x="324465" y="5950974"/>
            <a:ext cx="11488993" cy="479323"/>
          </a:xfrm>
          <a:prstGeom prst="roundRect">
            <a:avLst/>
          </a:prstGeom>
          <a:solidFill>
            <a:schemeClr val="bg2">
              <a:lumMod val="90000"/>
            </a:schemeClr>
          </a:solidFill>
          <a:ln w="6350" algn="ctr">
            <a:solidFill>
              <a:schemeClr val="bg2">
                <a:lumMod val="90000"/>
              </a:schemeClr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Arial Unicode MS" pitchFamily="34" charset="-128"/>
                <a:cs typeface="Arial Unicode MS" pitchFamily="34" charset="-128"/>
              </a:rPr>
              <a:t>“Beyond the expected”</a:t>
            </a:r>
          </a:p>
        </p:txBody>
      </p:sp>
      <p:sp>
        <p:nvSpPr>
          <p:cNvPr id="8" name="Foliennummernplatzhalter 3"/>
          <p:cNvSpPr txBox="1">
            <a:spLocks/>
          </p:cNvSpPr>
          <p:nvPr/>
        </p:nvSpPr>
        <p:spPr>
          <a:xfrm>
            <a:off x="296419" y="6255653"/>
            <a:ext cx="558987" cy="455906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33"/>
            <a:fld id="{4898AEC0-503E-4FA4-859C-D0F72D6E3F79}" type="slidenum">
              <a:rPr lang="de-DE" sz="1330" smtClean="0">
                <a:solidFill>
                  <a:schemeClr val="tx1">
                    <a:lumMod val="50000"/>
                    <a:lumOff val="50000"/>
                  </a:schemeClr>
                </a:solidFill>
                <a:latin typeface="Bosch Office Sans"/>
              </a:rPr>
              <a:pPr defTabSz="914333"/>
              <a:t>11</a:t>
            </a:fld>
            <a:endParaRPr lang="de-DE" sz="1330" dirty="0">
              <a:solidFill>
                <a:schemeClr val="tx1">
                  <a:lumMod val="50000"/>
                  <a:lumOff val="50000"/>
                </a:schemeClr>
              </a:solidFill>
              <a:latin typeface="Bosch Office Sans"/>
            </a:endParaRPr>
          </a:p>
        </p:txBody>
      </p:sp>
    </p:spTree>
    <p:extLst>
      <p:ext uri="{BB962C8B-B14F-4D97-AF65-F5344CB8AC3E}">
        <p14:creationId xmlns:p14="http://schemas.microsoft.com/office/powerpoint/2010/main" val="11709819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1670" y="80873"/>
            <a:ext cx="10515600" cy="1325563"/>
          </a:xfrm>
        </p:spPr>
        <p:txBody>
          <a:bodyPr>
            <a:normAutofit/>
          </a:bodyPr>
          <a:lstStyle/>
          <a:p>
            <a:r>
              <a:rPr lang="en-US" altLang="zh-CN" sz="4000" dirty="0"/>
              <a:t>SAP </a:t>
            </a:r>
            <a:r>
              <a:rPr lang="en-US" sz="4000" dirty="0"/>
              <a:t>Fiori 2.0</a:t>
            </a:r>
          </a:p>
        </p:txBody>
      </p:sp>
      <p:sp>
        <p:nvSpPr>
          <p:cNvPr id="5" name="Rectangle 4"/>
          <p:cNvSpPr/>
          <p:nvPr/>
        </p:nvSpPr>
        <p:spPr>
          <a:xfrm>
            <a:off x="432000" y="1406436"/>
            <a:ext cx="11328000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SAP Fiori 2.0 is the significant step in our evolution of user experience for business applications: an award-winning new design concept along with a delightful new visual theme, called Belize.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P Fiori 2.0 is the user experience for SAP S/4HANA and other solutions. </a:t>
            </a:r>
            <a:endParaRPr kumimoji="0" lang="en-US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         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61869" y="2003539"/>
            <a:ext cx="5313306" cy="4352105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432000" y="3357820"/>
            <a:ext cx="6074286" cy="23391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Benefits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Wingdings" panose="05000000000000000000" pitchFamily="2" charset="2"/>
                <a:ea typeface="+mn-ea"/>
                <a:cs typeface="+mn-cs"/>
              </a:rPr>
              <a:t>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Increased productivity –faster and direct access to relevant information and application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Wingdings" panose="05000000000000000000" pitchFamily="2" charset="2"/>
                <a:ea typeface="+mn-ea"/>
                <a:cs typeface="+mn-cs"/>
              </a:rPr>
              <a:t>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Transparency on items needing your attention –timely notification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Wingdings" panose="05000000000000000000" pitchFamily="2" charset="2"/>
                <a:ea typeface="+mn-ea"/>
                <a:cs typeface="+mn-cs"/>
              </a:rPr>
              <a:t>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Helps users decide what needs to be done next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Wingdings" panose="05000000000000000000" pitchFamily="2" charset="2"/>
                <a:ea typeface="+mn-ea"/>
                <a:cs typeface="+mn-cs"/>
              </a:rPr>
              <a:t>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llows users to take quick and informed action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Wingdings" panose="05000000000000000000" pitchFamily="2" charset="2"/>
                <a:ea typeface="+mn-ea"/>
                <a:cs typeface="+mn-cs"/>
              </a:rPr>
              <a:t>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Increased user satisfaction</a:t>
            </a:r>
          </a:p>
        </p:txBody>
      </p:sp>
      <p:sp>
        <p:nvSpPr>
          <p:cNvPr id="3" name="Rectangle 2"/>
          <p:cNvSpPr/>
          <p:nvPr/>
        </p:nvSpPr>
        <p:spPr>
          <a:xfrm>
            <a:off x="432000" y="6170978"/>
            <a:ext cx="573342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9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hlinkClick r:id="rId5"/>
              </a:rPr>
              <a:t>Watch video of SAP Fiori 2.0 with SAP S/4HANA 1610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9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3" name="Object 12"/>
          <p:cNvGraphicFramePr>
            <a:graphicFrameLocks noChangeAspect="1"/>
          </p:cNvGraphicFramePr>
          <p:nvPr>
            <p:extLst/>
          </p:nvPr>
        </p:nvGraphicFramePr>
        <p:xfrm>
          <a:off x="3372679" y="2425631"/>
          <a:ext cx="1250374" cy="11027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" name="Acrobat Document" showAsIcon="1" r:id="rId6" imgW="914400" imgH="806400" progId="AcroExch.Document.DC">
                  <p:embed/>
                </p:oleObj>
              </mc:Choice>
              <mc:Fallback>
                <p:oleObj name="Acrobat Document" showAsIcon="1" r:id="rId6" imgW="914400" imgH="806400" progId="AcroExch.Document.DC">
                  <p:embed/>
                  <p:pic>
                    <p:nvPicPr>
                      <p:cNvPr id="13" name="Object 12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372679" y="2425631"/>
                        <a:ext cx="1250374" cy="110276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oliennummernplatzhalter 3"/>
          <p:cNvSpPr txBox="1">
            <a:spLocks/>
          </p:cNvSpPr>
          <p:nvPr/>
        </p:nvSpPr>
        <p:spPr>
          <a:xfrm>
            <a:off x="296419" y="6255653"/>
            <a:ext cx="558987" cy="455906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33"/>
            <a:fld id="{4898AEC0-503E-4FA4-859C-D0F72D6E3F79}" type="slidenum">
              <a:rPr lang="de-DE" sz="1330" smtClean="0">
                <a:solidFill>
                  <a:schemeClr val="tx1">
                    <a:lumMod val="50000"/>
                    <a:lumOff val="50000"/>
                  </a:schemeClr>
                </a:solidFill>
                <a:latin typeface="Bosch Office Sans"/>
              </a:rPr>
              <a:pPr defTabSz="914333"/>
              <a:t>12</a:t>
            </a:fld>
            <a:endParaRPr lang="de-DE" sz="1330" dirty="0">
              <a:solidFill>
                <a:schemeClr val="tx1">
                  <a:lumMod val="50000"/>
                  <a:lumOff val="50000"/>
                </a:schemeClr>
              </a:solidFill>
              <a:latin typeface="Bosch Office Sans"/>
            </a:endParaRPr>
          </a:p>
        </p:txBody>
      </p:sp>
    </p:spTree>
    <p:extLst>
      <p:ext uri="{BB962C8B-B14F-4D97-AF65-F5344CB8AC3E}">
        <p14:creationId xmlns:p14="http://schemas.microsoft.com/office/powerpoint/2010/main" val="23470206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57" y="1875"/>
          <a:ext cx="1765" cy="17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2" name="think-cell Folie" r:id="rId5" imgW="622" imgH="623" progId="TCLayout.ActiveDocument.1">
                  <p:embed/>
                </p:oleObj>
              </mc:Choice>
              <mc:Fallback>
                <p:oleObj name="think-cell Folie" r:id="rId5" imgW="622" imgH="623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57" y="1875"/>
                        <a:ext cx="1765" cy="176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>
          <a:xfrm>
            <a:off x="394" y="111"/>
            <a:ext cx="176429" cy="176429"/>
          </a:xfrm>
          <a:prstGeom prst="rect">
            <a:avLst/>
          </a:prstGeom>
          <a:noFill/>
          <a:ln w="9525" cap="flat" cmpd="sng" algn="ctr">
            <a:solidFill>
              <a:srgbClr val="3F136C"/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algn="ctr" defTabSz="914333">
              <a:lnSpc>
                <a:spcPct val="89000"/>
              </a:lnSpc>
            </a:pPr>
            <a:endParaRPr lang="en-US" sz="3112" kern="0" dirty="0">
              <a:solidFill>
                <a:srgbClr val="000000"/>
              </a:solidFill>
              <a:latin typeface="Bosch Office Sans" pitchFamily="2" charset="0"/>
              <a:sym typeface="Bosch Office Sans" pitchFamily="2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SAP Fiori Launchpad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296419" y="6255653"/>
            <a:ext cx="647478" cy="455906"/>
          </a:xfrm>
        </p:spPr>
        <p:txBody>
          <a:bodyPr/>
          <a:lstStyle/>
          <a:p>
            <a:pPr defTabSz="914333"/>
            <a:fld id="{4898AEC0-503E-4FA4-859C-D0F72D6E3F79}" type="slidenum">
              <a:rPr lang="de-DE" sz="1330">
                <a:solidFill>
                  <a:schemeClr val="tx1">
                    <a:lumMod val="50000"/>
                    <a:lumOff val="50000"/>
                  </a:schemeClr>
                </a:solidFill>
                <a:latin typeface="Bosch Office Sans"/>
              </a:rPr>
              <a:pPr defTabSz="914333"/>
              <a:t>13</a:t>
            </a:fld>
            <a:endParaRPr lang="de-DE" sz="1330" dirty="0">
              <a:solidFill>
                <a:schemeClr val="tx1">
                  <a:lumMod val="50000"/>
                  <a:lumOff val="50000"/>
                </a:schemeClr>
              </a:solidFill>
              <a:latin typeface="Bosch Office Sans"/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10847891" y="141856"/>
            <a:ext cx="1198288" cy="638873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1016190"/>
            <a:r>
              <a:rPr lang="en-US" sz="1167" b="1" kern="0" dirty="0">
                <a:solidFill>
                  <a:srgbClr val="08427E"/>
                </a:solidFill>
                <a:latin typeface="Bosch Office Sans"/>
              </a:rPr>
              <a:t>S/4HANA</a:t>
            </a:r>
            <a:r>
              <a:rPr lang="en-US" sz="222" kern="0" dirty="0">
                <a:solidFill>
                  <a:srgbClr val="0E78C5"/>
                </a:solidFill>
                <a:latin typeface="Bosch Office Sans"/>
              </a:rPr>
              <a:t/>
            </a:r>
            <a:br>
              <a:rPr lang="en-US" sz="222" kern="0" dirty="0">
                <a:solidFill>
                  <a:srgbClr val="0E78C5"/>
                </a:solidFill>
                <a:latin typeface="Bosch Office Sans"/>
              </a:rPr>
            </a:br>
            <a:r>
              <a:rPr lang="en-US" sz="411" kern="0" dirty="0">
                <a:solidFill>
                  <a:srgbClr val="0E78C5"/>
                </a:solidFill>
                <a:latin typeface="Bosch Office Sans"/>
              </a:rPr>
              <a:t>EXPERIENCE PLATFORM</a:t>
            </a:r>
          </a:p>
          <a:p>
            <a:pPr algn="ctr" defTabSz="1016190"/>
            <a:endParaRPr lang="en-US" sz="111" kern="0" dirty="0">
              <a:solidFill>
                <a:srgbClr val="0E78C5"/>
              </a:solidFill>
              <a:latin typeface="Bosch Office Sans"/>
            </a:endParaRPr>
          </a:p>
        </p:txBody>
      </p:sp>
      <p:sp>
        <p:nvSpPr>
          <p:cNvPr id="12" name="Textfeld 11"/>
          <p:cNvSpPr txBox="1"/>
          <p:nvPr/>
        </p:nvSpPr>
        <p:spPr>
          <a:xfrm>
            <a:off x="371931" y="2010535"/>
            <a:ext cx="2205327" cy="532491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defTabSz="1016190">
              <a:lnSpc>
                <a:spcPts val="2556"/>
              </a:lnSpc>
              <a:spcBef>
                <a:spcPts val="556"/>
              </a:spcBef>
            </a:pPr>
            <a:r>
              <a:rPr lang="de-DE" sz="1556" kern="0" dirty="0">
                <a:solidFill>
                  <a:srgbClr val="08427E"/>
                </a:solidFill>
                <a:latin typeface="Bosch Office Sans"/>
              </a:rPr>
              <a:t>SAP </a:t>
            </a:r>
            <a:r>
              <a:rPr lang="de-DE" sz="1556" kern="0" dirty="0" err="1">
                <a:solidFill>
                  <a:srgbClr val="08427E"/>
                </a:solidFill>
                <a:latin typeface="Bosch Office Sans"/>
              </a:rPr>
              <a:t>Fiori</a:t>
            </a:r>
            <a:r>
              <a:rPr lang="de-DE" sz="1556" kern="0" dirty="0">
                <a:solidFill>
                  <a:srgbClr val="08427E"/>
                </a:solidFill>
                <a:latin typeface="Bosch Office Sans"/>
              </a:rPr>
              <a:t> </a:t>
            </a:r>
            <a:r>
              <a:rPr lang="de-DE" sz="1556" kern="0" dirty="0" err="1">
                <a:solidFill>
                  <a:srgbClr val="000000"/>
                </a:solidFill>
                <a:latin typeface="Bosch Office Sans"/>
              </a:rPr>
              <a:t>Concept</a:t>
            </a:r>
            <a:endParaRPr lang="en-GB" sz="1556" kern="0" dirty="0">
              <a:solidFill>
                <a:srgbClr val="000000"/>
              </a:solidFill>
              <a:latin typeface="Bosch Office Sans"/>
            </a:endParaRPr>
          </a:p>
        </p:txBody>
      </p:sp>
      <p:sp>
        <p:nvSpPr>
          <p:cNvPr id="13" name="Textfeld 12"/>
          <p:cNvSpPr txBox="1"/>
          <p:nvPr/>
        </p:nvSpPr>
        <p:spPr>
          <a:xfrm>
            <a:off x="325059" y="3395129"/>
            <a:ext cx="2205327" cy="532491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defTabSz="1016190">
              <a:lnSpc>
                <a:spcPts val="2556"/>
              </a:lnSpc>
              <a:spcBef>
                <a:spcPts val="556"/>
              </a:spcBef>
            </a:pPr>
            <a:r>
              <a:rPr lang="de-DE" sz="1556" kern="0" dirty="0">
                <a:solidFill>
                  <a:srgbClr val="08427E"/>
                </a:solidFill>
                <a:latin typeface="Bosch Office Sans"/>
              </a:rPr>
              <a:t>SAP </a:t>
            </a:r>
            <a:r>
              <a:rPr lang="de-DE" sz="1556" kern="0" dirty="0" err="1">
                <a:solidFill>
                  <a:srgbClr val="08427E"/>
                </a:solidFill>
                <a:latin typeface="Bosch Office Sans"/>
              </a:rPr>
              <a:t>Fiori</a:t>
            </a:r>
            <a:r>
              <a:rPr lang="de-DE" sz="1556" kern="0" dirty="0">
                <a:solidFill>
                  <a:srgbClr val="08427E"/>
                </a:solidFill>
                <a:latin typeface="Bosch Office Sans"/>
              </a:rPr>
              <a:t> </a:t>
            </a:r>
            <a:r>
              <a:rPr lang="de-DE" sz="1556" kern="0" dirty="0">
                <a:solidFill>
                  <a:srgbClr val="000000"/>
                </a:solidFill>
                <a:latin typeface="Bosch Office Sans"/>
              </a:rPr>
              <a:t>Design</a:t>
            </a:r>
            <a:endParaRPr lang="en-GB" sz="1556" kern="0" dirty="0">
              <a:solidFill>
                <a:srgbClr val="000000"/>
              </a:solidFill>
              <a:latin typeface="Bosch Office Sans"/>
            </a:endParaRPr>
          </a:p>
        </p:txBody>
      </p:sp>
      <p:pic>
        <p:nvPicPr>
          <p:cNvPr id="14" name="Grafik 1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841167" y="1670387"/>
            <a:ext cx="2926598" cy="1085534"/>
          </a:xfrm>
          <a:prstGeom prst="rect">
            <a:avLst/>
          </a:prstGeom>
        </p:spPr>
      </p:pic>
      <p:pic>
        <p:nvPicPr>
          <p:cNvPr id="15" name="Grafik 1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213721" y="3083032"/>
            <a:ext cx="2377451" cy="1184640"/>
          </a:xfrm>
          <a:prstGeom prst="rect">
            <a:avLst/>
          </a:prstGeom>
        </p:spPr>
      </p:pic>
      <p:sp>
        <p:nvSpPr>
          <p:cNvPr id="16" name="Textfeld 15"/>
          <p:cNvSpPr txBox="1"/>
          <p:nvPr/>
        </p:nvSpPr>
        <p:spPr>
          <a:xfrm>
            <a:off x="323365" y="4836225"/>
            <a:ext cx="2205327" cy="532491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defTabSz="1016190">
              <a:lnSpc>
                <a:spcPts val="2556"/>
              </a:lnSpc>
              <a:spcBef>
                <a:spcPts val="556"/>
              </a:spcBef>
            </a:pPr>
            <a:r>
              <a:rPr lang="de-DE" sz="1556" kern="0" dirty="0">
                <a:solidFill>
                  <a:srgbClr val="08427E"/>
                </a:solidFill>
                <a:latin typeface="Bosch Office Sans"/>
              </a:rPr>
              <a:t>SAP </a:t>
            </a:r>
            <a:r>
              <a:rPr lang="de-DE" sz="1556" kern="0" dirty="0" err="1">
                <a:solidFill>
                  <a:srgbClr val="08427E"/>
                </a:solidFill>
                <a:latin typeface="Bosch Office Sans"/>
              </a:rPr>
              <a:t>Fiori</a:t>
            </a:r>
            <a:r>
              <a:rPr lang="de-DE" sz="1556" kern="0" dirty="0">
                <a:solidFill>
                  <a:srgbClr val="08427E"/>
                </a:solidFill>
                <a:latin typeface="Bosch Office Sans"/>
              </a:rPr>
              <a:t> </a:t>
            </a:r>
            <a:r>
              <a:rPr lang="de-DE" sz="1556" kern="0" dirty="0">
                <a:solidFill>
                  <a:srgbClr val="000000"/>
                </a:solidFill>
                <a:latin typeface="Bosch Office Sans"/>
              </a:rPr>
              <a:t>Technology</a:t>
            </a:r>
            <a:endParaRPr lang="en-GB" sz="1556" kern="0" dirty="0">
              <a:solidFill>
                <a:srgbClr val="000000"/>
              </a:solidFill>
              <a:latin typeface="Bosch Office Sans"/>
            </a:endParaRPr>
          </a:p>
        </p:txBody>
      </p:sp>
      <p:cxnSp>
        <p:nvCxnSpPr>
          <p:cNvPr id="19" name="Gerader Verbinder 18"/>
          <p:cNvCxnSpPr/>
          <p:nvPr/>
        </p:nvCxnSpPr>
        <p:spPr>
          <a:xfrm>
            <a:off x="371933" y="2919476"/>
            <a:ext cx="5283509" cy="0"/>
          </a:xfrm>
          <a:prstGeom prst="line">
            <a:avLst/>
          </a:prstGeom>
          <a:ln w="6350" cap="flat" cmpd="sng" algn="ctr">
            <a:solidFill>
              <a:schemeClr val="hlink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/>
          <p:cNvCxnSpPr/>
          <p:nvPr/>
        </p:nvCxnSpPr>
        <p:spPr>
          <a:xfrm>
            <a:off x="296794" y="4398212"/>
            <a:ext cx="5358647" cy="0"/>
          </a:xfrm>
          <a:prstGeom prst="line">
            <a:avLst/>
          </a:prstGeom>
          <a:ln w="6350" cap="flat" cmpd="sng" algn="ctr">
            <a:solidFill>
              <a:schemeClr val="hlink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Gleichschenkliges Dreieck 20"/>
          <p:cNvSpPr/>
          <p:nvPr/>
        </p:nvSpPr>
        <p:spPr>
          <a:xfrm rot="5400000">
            <a:off x="5100187" y="3490029"/>
            <a:ext cx="3007994" cy="306169"/>
          </a:xfrm>
          <a:prstGeom prst="triangle">
            <a:avLst/>
          </a:prstGeom>
          <a:solidFill>
            <a:srgbClr val="D7D7D7"/>
          </a:solidFill>
          <a:ln w="9525" cap="flat" cmpd="sng" algn="ctr">
            <a:solidFill>
              <a:srgbClr val="D7D7D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1016190"/>
            <a:endParaRPr lang="en-GB" sz="2001" kern="0" dirty="0">
              <a:solidFill>
                <a:srgbClr val="000000"/>
              </a:solidFill>
              <a:latin typeface="Bosch Office Sans"/>
            </a:endParaRP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371019" y="2460005"/>
            <a:ext cx="4076016" cy="2366215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25" name="Textfeld 24"/>
          <p:cNvSpPr txBox="1"/>
          <p:nvPr/>
        </p:nvSpPr>
        <p:spPr>
          <a:xfrm>
            <a:off x="7371019" y="2005874"/>
            <a:ext cx="4076016" cy="454132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 defTabSz="1016190">
              <a:lnSpc>
                <a:spcPts val="2556"/>
              </a:lnSpc>
              <a:spcBef>
                <a:spcPts val="556"/>
              </a:spcBef>
            </a:pPr>
            <a:r>
              <a:rPr lang="de-DE" sz="1556" kern="0" dirty="0">
                <a:solidFill>
                  <a:srgbClr val="08427E"/>
                </a:solidFill>
                <a:latin typeface="Bosch Office Sans"/>
              </a:rPr>
              <a:t>SAP </a:t>
            </a:r>
            <a:r>
              <a:rPr lang="de-DE" sz="1556" kern="0" dirty="0" err="1">
                <a:solidFill>
                  <a:srgbClr val="08427E"/>
                </a:solidFill>
                <a:latin typeface="Bosch Office Sans"/>
              </a:rPr>
              <a:t>Fiori</a:t>
            </a:r>
            <a:r>
              <a:rPr lang="de-DE" sz="1556" kern="0" dirty="0">
                <a:solidFill>
                  <a:srgbClr val="08427E"/>
                </a:solidFill>
                <a:latin typeface="Bosch Office Sans"/>
              </a:rPr>
              <a:t> </a:t>
            </a:r>
            <a:r>
              <a:rPr lang="de-DE" sz="1556" kern="0" dirty="0" err="1">
                <a:solidFill>
                  <a:srgbClr val="000000"/>
                </a:solidFill>
                <a:latin typeface="Bosch Office Sans"/>
              </a:rPr>
              <a:t>Launchpad</a:t>
            </a:r>
            <a:endParaRPr lang="en-GB" sz="1556" kern="0" dirty="0">
              <a:solidFill>
                <a:srgbClr val="000000"/>
              </a:solidFill>
              <a:latin typeface="Bosch Office Sans"/>
            </a:endParaRPr>
          </a:p>
        </p:txBody>
      </p:sp>
      <p:pic>
        <p:nvPicPr>
          <p:cNvPr id="27" name="Grafik 26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841167" y="4820050"/>
            <a:ext cx="2926598" cy="676028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88271" y="1407501"/>
            <a:ext cx="11672573" cy="4816472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485796" y="1042689"/>
            <a:ext cx="2681370" cy="3000672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/>
        <p:txBody>
          <a:bodyPr>
            <a:normAutofit fontScale="92500" lnSpcReduction="20000"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71131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 smtClean="0"/>
              <a:t>S/4HANA Architecture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296419" y="6255653"/>
            <a:ext cx="558987" cy="455906"/>
          </a:xfrm>
        </p:spPr>
        <p:txBody>
          <a:bodyPr/>
          <a:lstStyle/>
          <a:p>
            <a:pPr defTabSz="914333"/>
            <a:fld id="{4898AEC0-503E-4FA4-859C-D0F72D6E3F79}" type="slidenum">
              <a:rPr lang="de-DE" sz="1330">
                <a:solidFill>
                  <a:schemeClr val="tx1">
                    <a:lumMod val="50000"/>
                    <a:lumOff val="50000"/>
                  </a:schemeClr>
                </a:solidFill>
                <a:latin typeface="Bosch Office Sans"/>
              </a:rPr>
              <a:pPr defTabSz="914333"/>
              <a:t>14</a:t>
            </a:fld>
            <a:endParaRPr lang="de-DE" sz="1330" dirty="0">
              <a:solidFill>
                <a:schemeClr val="tx1">
                  <a:lumMod val="50000"/>
                  <a:lumOff val="50000"/>
                </a:schemeClr>
              </a:solidFill>
              <a:latin typeface="Bosch Office Sans"/>
            </a:endParaRPr>
          </a:p>
        </p:txBody>
      </p:sp>
      <p:cxnSp>
        <p:nvCxnSpPr>
          <p:cNvPr id="6" name="Gerader Verbinder 5"/>
          <p:cNvCxnSpPr/>
          <p:nvPr/>
        </p:nvCxnSpPr>
        <p:spPr>
          <a:xfrm>
            <a:off x="9708088" y="1152369"/>
            <a:ext cx="0" cy="4835793"/>
          </a:xfrm>
          <a:prstGeom prst="line">
            <a:avLst/>
          </a:prstGeom>
          <a:ln w="6350" cap="flat" cmpd="sng" algn="ctr">
            <a:solidFill>
              <a:schemeClr val="accent4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hteck 6"/>
          <p:cNvSpPr/>
          <p:nvPr/>
        </p:nvSpPr>
        <p:spPr>
          <a:xfrm>
            <a:off x="2833758" y="1416308"/>
            <a:ext cx="6638994" cy="4571854"/>
          </a:xfrm>
          <a:prstGeom prst="rect">
            <a:avLst/>
          </a:prstGeom>
          <a:solidFill>
            <a:srgbClr val="D7D7D7"/>
          </a:solidFill>
          <a:ln w="9525" cap="flat" cmpd="sng" algn="ctr">
            <a:solidFill>
              <a:srgbClr val="D7D7D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b"/>
          <a:lstStyle/>
          <a:p>
            <a:pPr algn="ctr" defTabSz="914333"/>
            <a:endParaRPr lang="en-GB" sz="1400" kern="0" dirty="0">
              <a:solidFill>
                <a:srgbClr val="000000"/>
              </a:solidFill>
              <a:latin typeface="Bosch Office Sans"/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3054429" y="4844404"/>
            <a:ext cx="6174124" cy="1050288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08427E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t"/>
          <a:lstStyle/>
          <a:p>
            <a:pPr defTabSz="914333"/>
            <a:r>
              <a:rPr lang="en-GB" sz="1400" kern="0" dirty="0">
                <a:solidFill>
                  <a:srgbClr val="08427E"/>
                </a:solidFill>
                <a:latin typeface="Bosch Office Sans"/>
              </a:rPr>
              <a:t>HANA</a:t>
            </a:r>
          </a:p>
        </p:txBody>
      </p:sp>
      <p:sp>
        <p:nvSpPr>
          <p:cNvPr id="9" name="Rechteck 8"/>
          <p:cNvSpPr/>
          <p:nvPr/>
        </p:nvSpPr>
        <p:spPr>
          <a:xfrm>
            <a:off x="3054429" y="3379167"/>
            <a:ext cx="6174124" cy="1341375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0E78C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t"/>
          <a:lstStyle/>
          <a:p>
            <a:pPr defTabSz="914333"/>
            <a:r>
              <a:rPr lang="en-GB" sz="1400" kern="0" dirty="0">
                <a:solidFill>
                  <a:srgbClr val="0E78C5"/>
                </a:solidFill>
                <a:latin typeface="Bosch Office Sans"/>
              </a:rPr>
              <a:t>SAP S/4HANA </a:t>
            </a:r>
          </a:p>
          <a:p>
            <a:pPr defTabSz="914333"/>
            <a:r>
              <a:rPr lang="en-GB" sz="1400" kern="0" dirty="0">
                <a:solidFill>
                  <a:srgbClr val="0E78C5"/>
                </a:solidFill>
                <a:latin typeface="Bosch Office Sans"/>
              </a:rPr>
              <a:t>ABAP</a:t>
            </a:r>
          </a:p>
        </p:txBody>
      </p:sp>
      <p:sp>
        <p:nvSpPr>
          <p:cNvPr id="10" name="Wolke 9"/>
          <p:cNvSpPr/>
          <p:nvPr/>
        </p:nvSpPr>
        <p:spPr>
          <a:xfrm>
            <a:off x="9851908" y="1564095"/>
            <a:ext cx="1855394" cy="941639"/>
          </a:xfrm>
          <a:prstGeom prst="cloud">
            <a:avLst/>
          </a:prstGeom>
          <a:noFill/>
          <a:ln w="9525" cap="flat" cmpd="sng" algn="ctr">
            <a:solidFill>
              <a:srgbClr val="67B41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333"/>
            <a:endParaRPr lang="en-GB" sz="1799" kern="0" dirty="0">
              <a:solidFill>
                <a:srgbClr val="000000"/>
              </a:solidFill>
              <a:latin typeface="Bosch Office Sans"/>
            </a:endParaRPr>
          </a:p>
        </p:txBody>
      </p:sp>
      <p:sp>
        <p:nvSpPr>
          <p:cNvPr id="11" name="Abgerundetes Rechteck 10"/>
          <p:cNvSpPr/>
          <p:nvPr/>
        </p:nvSpPr>
        <p:spPr>
          <a:xfrm>
            <a:off x="5006258" y="4605162"/>
            <a:ext cx="3226673" cy="373843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rgbClr val="08427E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333"/>
            <a:r>
              <a:rPr lang="en-GB" sz="1400" kern="0" dirty="0">
                <a:solidFill>
                  <a:srgbClr val="08427E"/>
                </a:solidFill>
                <a:latin typeface="Bosch Office Sans"/>
              </a:rPr>
              <a:t>CDS Views</a:t>
            </a:r>
          </a:p>
        </p:txBody>
      </p:sp>
      <p:sp>
        <p:nvSpPr>
          <p:cNvPr id="12" name="Abgerundetes Rechteck 11"/>
          <p:cNvSpPr/>
          <p:nvPr/>
        </p:nvSpPr>
        <p:spPr>
          <a:xfrm>
            <a:off x="10257623" y="1868492"/>
            <a:ext cx="1056256" cy="323183"/>
          </a:xfrm>
          <a:prstGeom prst="roundRect">
            <a:avLst/>
          </a:prstGeom>
          <a:solidFill>
            <a:srgbClr val="67B419"/>
          </a:solidFill>
          <a:ln w="9525" cap="flat" cmpd="sng" algn="ctr">
            <a:solidFill>
              <a:srgbClr val="67B41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333"/>
            <a:r>
              <a:rPr lang="en-GB" sz="1200" kern="0" dirty="0">
                <a:solidFill>
                  <a:prstClr val="white"/>
                </a:solidFill>
                <a:latin typeface="Bosch Office Sans"/>
              </a:rPr>
              <a:t>Co-Pilot</a:t>
            </a:r>
          </a:p>
        </p:txBody>
      </p:sp>
      <p:sp>
        <p:nvSpPr>
          <p:cNvPr id="13" name="Rechteck 12"/>
          <p:cNvSpPr/>
          <p:nvPr/>
        </p:nvSpPr>
        <p:spPr>
          <a:xfrm>
            <a:off x="4213080" y="5283261"/>
            <a:ext cx="4815074" cy="395641"/>
          </a:xfrm>
          <a:prstGeom prst="rect">
            <a:avLst/>
          </a:prstGeom>
          <a:solidFill>
            <a:srgbClr val="08427E"/>
          </a:solidFill>
          <a:ln w="9525" cap="flat" cmpd="sng" algn="ctr">
            <a:solidFill>
              <a:srgbClr val="08427E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333"/>
            <a:r>
              <a:rPr lang="en-GB" sz="1200" kern="0" dirty="0">
                <a:solidFill>
                  <a:prstClr val="white"/>
                </a:solidFill>
                <a:latin typeface="Bosch Office Sans"/>
              </a:rPr>
              <a:t>Database Tables</a:t>
            </a:r>
          </a:p>
        </p:txBody>
      </p:sp>
      <p:cxnSp>
        <p:nvCxnSpPr>
          <p:cNvPr id="14" name="Gerade Verbindung mit Pfeil 13"/>
          <p:cNvCxnSpPr>
            <a:endCxn id="11" idx="2"/>
          </p:cNvCxnSpPr>
          <p:nvPr/>
        </p:nvCxnSpPr>
        <p:spPr>
          <a:xfrm flipV="1">
            <a:off x="6615198" y="4979005"/>
            <a:ext cx="4397" cy="30425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hteck 14"/>
          <p:cNvSpPr/>
          <p:nvPr/>
        </p:nvSpPr>
        <p:spPr>
          <a:xfrm>
            <a:off x="4213079" y="4061843"/>
            <a:ext cx="1468269" cy="337966"/>
          </a:xfrm>
          <a:prstGeom prst="rect">
            <a:avLst/>
          </a:prstGeom>
          <a:solidFill>
            <a:srgbClr val="0E78C5"/>
          </a:solidFill>
          <a:ln w="9525" cap="flat" cmpd="sng" algn="ctr">
            <a:solidFill>
              <a:srgbClr val="0E78C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333"/>
            <a:r>
              <a:rPr lang="en-GB" sz="1100" kern="0" dirty="0">
                <a:solidFill>
                  <a:srgbClr val="FFFFFF"/>
                </a:solidFill>
                <a:latin typeface="Bosch Office Sans"/>
              </a:rPr>
              <a:t>Transactional</a:t>
            </a:r>
          </a:p>
        </p:txBody>
      </p:sp>
      <p:sp>
        <p:nvSpPr>
          <p:cNvPr id="16" name="Rechteck 15"/>
          <p:cNvSpPr/>
          <p:nvPr/>
        </p:nvSpPr>
        <p:spPr>
          <a:xfrm>
            <a:off x="5881062" y="4067207"/>
            <a:ext cx="1468269" cy="337966"/>
          </a:xfrm>
          <a:prstGeom prst="rect">
            <a:avLst/>
          </a:prstGeom>
          <a:solidFill>
            <a:srgbClr val="0E78C5"/>
          </a:solidFill>
          <a:ln w="9525" cap="flat" cmpd="sng" algn="ctr">
            <a:solidFill>
              <a:srgbClr val="0E78C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333"/>
            <a:r>
              <a:rPr lang="en-GB" sz="1100" kern="0" dirty="0">
                <a:solidFill>
                  <a:srgbClr val="FFFFFF"/>
                </a:solidFill>
                <a:latin typeface="Bosch Office Sans"/>
              </a:rPr>
              <a:t>Analytical</a:t>
            </a:r>
          </a:p>
        </p:txBody>
      </p:sp>
      <p:sp>
        <p:nvSpPr>
          <p:cNvPr id="17" name="Rechteck 16"/>
          <p:cNvSpPr/>
          <p:nvPr/>
        </p:nvSpPr>
        <p:spPr>
          <a:xfrm>
            <a:off x="7545080" y="4052678"/>
            <a:ext cx="1468269" cy="337966"/>
          </a:xfrm>
          <a:prstGeom prst="rect">
            <a:avLst/>
          </a:prstGeom>
          <a:solidFill>
            <a:srgbClr val="0E78C5"/>
          </a:solidFill>
          <a:ln w="9525" cap="flat" cmpd="sng" algn="ctr">
            <a:solidFill>
              <a:srgbClr val="0E78C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333"/>
            <a:r>
              <a:rPr lang="en-GB" sz="1100" kern="0" dirty="0">
                <a:solidFill>
                  <a:srgbClr val="FFFFFF"/>
                </a:solidFill>
                <a:latin typeface="Bosch Office Sans"/>
              </a:rPr>
              <a:t>(Enterprise-)</a:t>
            </a:r>
            <a:r>
              <a:rPr lang="en-GB" sz="1100" kern="0" dirty="0" err="1">
                <a:solidFill>
                  <a:srgbClr val="FFFFFF"/>
                </a:solidFill>
                <a:latin typeface="Bosch Office Sans"/>
              </a:rPr>
              <a:t>Seacrh</a:t>
            </a:r>
            <a:endParaRPr lang="en-GB" sz="1100" kern="0" dirty="0">
              <a:solidFill>
                <a:srgbClr val="FFFFFF"/>
              </a:solidFill>
              <a:latin typeface="Bosch Office Sans"/>
            </a:endParaRPr>
          </a:p>
        </p:txBody>
      </p:sp>
      <p:sp>
        <p:nvSpPr>
          <p:cNvPr id="18" name="Rechteck 17"/>
          <p:cNvSpPr/>
          <p:nvPr/>
        </p:nvSpPr>
        <p:spPr>
          <a:xfrm>
            <a:off x="4751288" y="3530453"/>
            <a:ext cx="2598044" cy="337966"/>
          </a:xfrm>
          <a:prstGeom prst="rect">
            <a:avLst/>
          </a:prstGeom>
          <a:solidFill>
            <a:srgbClr val="0E78C5"/>
          </a:solidFill>
          <a:ln w="9525" cap="flat" cmpd="sng" algn="ctr">
            <a:solidFill>
              <a:srgbClr val="0E78C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333"/>
            <a:r>
              <a:rPr lang="en-GB" sz="1100" kern="0" dirty="0">
                <a:solidFill>
                  <a:srgbClr val="FFFFFF"/>
                </a:solidFill>
                <a:latin typeface="Bosch Office Sans"/>
              </a:rPr>
              <a:t>Gateway</a:t>
            </a:r>
          </a:p>
        </p:txBody>
      </p:sp>
      <p:cxnSp>
        <p:nvCxnSpPr>
          <p:cNvPr id="19" name="Gerade Verbindung mit Pfeil 18"/>
          <p:cNvCxnSpPr/>
          <p:nvPr/>
        </p:nvCxnSpPr>
        <p:spPr>
          <a:xfrm>
            <a:off x="5419482" y="4399808"/>
            <a:ext cx="0" cy="21925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/>
          <p:cNvCxnSpPr>
            <a:stCxn id="16" idx="2"/>
          </p:cNvCxnSpPr>
          <p:nvPr/>
        </p:nvCxnSpPr>
        <p:spPr>
          <a:xfrm>
            <a:off x="6615197" y="4405173"/>
            <a:ext cx="0" cy="20472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/>
          <p:cNvCxnSpPr/>
          <p:nvPr/>
        </p:nvCxnSpPr>
        <p:spPr>
          <a:xfrm>
            <a:off x="7840220" y="4399809"/>
            <a:ext cx="0" cy="21008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mit Pfeil 21"/>
          <p:cNvCxnSpPr/>
          <p:nvPr/>
        </p:nvCxnSpPr>
        <p:spPr>
          <a:xfrm>
            <a:off x="4584240" y="4399809"/>
            <a:ext cx="0" cy="88345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mit Pfeil 22"/>
          <p:cNvCxnSpPr/>
          <p:nvPr/>
        </p:nvCxnSpPr>
        <p:spPr>
          <a:xfrm>
            <a:off x="5076592" y="3868419"/>
            <a:ext cx="0" cy="18471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/>
          <p:cNvCxnSpPr/>
          <p:nvPr/>
        </p:nvCxnSpPr>
        <p:spPr>
          <a:xfrm>
            <a:off x="6618129" y="3868419"/>
            <a:ext cx="0" cy="18471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hteck 24"/>
          <p:cNvSpPr/>
          <p:nvPr/>
        </p:nvSpPr>
        <p:spPr>
          <a:xfrm>
            <a:off x="3054429" y="1526084"/>
            <a:ext cx="6174124" cy="1201705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67B41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t"/>
          <a:lstStyle/>
          <a:p>
            <a:pPr defTabSz="914333"/>
            <a:r>
              <a:rPr lang="en-GB" sz="1400" kern="0" dirty="0">
                <a:solidFill>
                  <a:srgbClr val="67B419"/>
                </a:solidFill>
                <a:latin typeface="Bosch Office Sans"/>
              </a:rPr>
              <a:t>Fiori Shell</a:t>
            </a:r>
          </a:p>
        </p:txBody>
      </p:sp>
      <p:sp>
        <p:nvSpPr>
          <p:cNvPr id="26" name="Rechteck 25"/>
          <p:cNvSpPr/>
          <p:nvPr/>
        </p:nvSpPr>
        <p:spPr>
          <a:xfrm>
            <a:off x="4718634" y="2300105"/>
            <a:ext cx="967983" cy="337966"/>
          </a:xfrm>
          <a:prstGeom prst="rect">
            <a:avLst/>
          </a:prstGeom>
          <a:solidFill>
            <a:srgbClr val="67B419"/>
          </a:solidFill>
          <a:ln w="9525" cap="flat" cmpd="sng" algn="ctr">
            <a:solidFill>
              <a:srgbClr val="67B41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333"/>
            <a:r>
              <a:rPr lang="en-GB" sz="1100" kern="0" dirty="0">
                <a:solidFill>
                  <a:srgbClr val="FFFFFF"/>
                </a:solidFill>
                <a:latin typeface="Bosch Office Sans"/>
              </a:rPr>
              <a:t>Fiori Apps</a:t>
            </a:r>
          </a:p>
        </p:txBody>
      </p:sp>
      <p:sp>
        <p:nvSpPr>
          <p:cNvPr id="27" name="Rechteck 26"/>
          <p:cNvSpPr/>
          <p:nvPr/>
        </p:nvSpPr>
        <p:spPr>
          <a:xfrm>
            <a:off x="6361855" y="2309573"/>
            <a:ext cx="967983" cy="337966"/>
          </a:xfrm>
          <a:prstGeom prst="rect">
            <a:avLst/>
          </a:prstGeom>
          <a:solidFill>
            <a:srgbClr val="67B419"/>
          </a:solidFill>
          <a:ln w="9525" cap="flat" cmpd="sng" algn="ctr">
            <a:solidFill>
              <a:srgbClr val="67B41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333"/>
            <a:r>
              <a:rPr lang="en-GB" sz="1100" kern="0" dirty="0">
                <a:solidFill>
                  <a:srgbClr val="FFFFFF"/>
                </a:solidFill>
                <a:latin typeface="Bosch Office Sans"/>
              </a:rPr>
              <a:t>Analytic  Apps</a:t>
            </a:r>
          </a:p>
        </p:txBody>
      </p:sp>
      <p:sp>
        <p:nvSpPr>
          <p:cNvPr id="28" name="Rechteck 27"/>
          <p:cNvSpPr/>
          <p:nvPr/>
        </p:nvSpPr>
        <p:spPr>
          <a:xfrm>
            <a:off x="7972688" y="2300103"/>
            <a:ext cx="967983" cy="337966"/>
          </a:xfrm>
          <a:prstGeom prst="rect">
            <a:avLst/>
          </a:prstGeom>
          <a:solidFill>
            <a:srgbClr val="67B419"/>
          </a:solidFill>
          <a:ln w="9525" cap="flat" cmpd="sng" algn="ctr">
            <a:solidFill>
              <a:srgbClr val="67B41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333"/>
            <a:r>
              <a:rPr lang="en-GB" sz="1100" kern="0" dirty="0">
                <a:solidFill>
                  <a:srgbClr val="FFFFFF"/>
                </a:solidFill>
                <a:latin typeface="Bosch Office Sans"/>
              </a:rPr>
              <a:t>Search,</a:t>
            </a:r>
            <a:br>
              <a:rPr lang="en-GB" sz="1100" kern="0" dirty="0">
                <a:solidFill>
                  <a:srgbClr val="FFFFFF"/>
                </a:solidFill>
                <a:latin typeface="Bosch Office Sans"/>
              </a:rPr>
            </a:br>
            <a:r>
              <a:rPr lang="en-GB" sz="1100" kern="0" dirty="0">
                <a:solidFill>
                  <a:srgbClr val="FFFFFF"/>
                </a:solidFill>
                <a:latin typeface="Bosch Office Sans"/>
              </a:rPr>
              <a:t>Fact Sheets</a:t>
            </a:r>
          </a:p>
        </p:txBody>
      </p:sp>
      <p:pic>
        <p:nvPicPr>
          <p:cNvPr id="29" name="Grafik 28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2415" y="1620164"/>
            <a:ext cx="1028528" cy="674642"/>
          </a:xfrm>
          <a:prstGeom prst="rect">
            <a:avLst/>
          </a:prstGeom>
        </p:spPr>
      </p:pic>
      <p:pic>
        <p:nvPicPr>
          <p:cNvPr id="30" name="Grafik 29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2175" y="1620761"/>
            <a:ext cx="1017157" cy="67012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1" name="Grafik 30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697383" y="1616476"/>
            <a:ext cx="1010484" cy="674412"/>
          </a:xfrm>
          <a:prstGeom prst="rect">
            <a:avLst/>
          </a:prstGeom>
        </p:spPr>
      </p:pic>
      <p:cxnSp>
        <p:nvCxnSpPr>
          <p:cNvPr id="32" name="Gerade Verbindung mit Pfeil 31"/>
          <p:cNvCxnSpPr>
            <a:stCxn id="26" idx="2"/>
          </p:cNvCxnSpPr>
          <p:nvPr/>
        </p:nvCxnSpPr>
        <p:spPr>
          <a:xfrm flipH="1">
            <a:off x="5202625" y="2638069"/>
            <a:ext cx="1" cy="89238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/>
          <p:cNvCxnSpPr/>
          <p:nvPr/>
        </p:nvCxnSpPr>
        <p:spPr>
          <a:xfrm flipH="1">
            <a:off x="6838806" y="2640520"/>
            <a:ext cx="3732" cy="88993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mit Pfeil 33"/>
          <p:cNvCxnSpPr>
            <a:stCxn id="28" idx="2"/>
          </p:cNvCxnSpPr>
          <p:nvPr/>
        </p:nvCxnSpPr>
        <p:spPr>
          <a:xfrm flipH="1">
            <a:off x="8456679" y="2638069"/>
            <a:ext cx="1" cy="141460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5" name="Picture 5" descr="S4HANA_logo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2"/>
          <a:stretch>
            <a:fillRect/>
          </a:stretch>
        </p:blipFill>
        <p:spPr>
          <a:xfrm>
            <a:off x="8232931" y="1181798"/>
            <a:ext cx="1190993" cy="220423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36" name="Rechteck 35"/>
          <p:cNvSpPr/>
          <p:nvPr/>
        </p:nvSpPr>
        <p:spPr>
          <a:xfrm>
            <a:off x="606069" y="3567306"/>
            <a:ext cx="1789450" cy="6460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333"/>
            <a:r>
              <a:rPr lang="fr-FR" sz="1799" b="1" dirty="0">
                <a:solidFill>
                  <a:srgbClr val="0E78C5"/>
                </a:solidFill>
                <a:latin typeface="Bosch Office Sans"/>
              </a:rPr>
              <a:t>SAP S/4HANA </a:t>
            </a:r>
            <a:br>
              <a:rPr lang="fr-FR" sz="1799" b="1" dirty="0">
                <a:solidFill>
                  <a:srgbClr val="0E78C5"/>
                </a:solidFill>
                <a:latin typeface="Bosch Office Sans"/>
              </a:rPr>
            </a:br>
            <a:r>
              <a:rPr lang="fr-FR" sz="1799" b="1" dirty="0">
                <a:solidFill>
                  <a:srgbClr val="0E78C5"/>
                </a:solidFill>
                <a:latin typeface="Bosch Office Sans"/>
              </a:rPr>
              <a:t>Applications </a:t>
            </a:r>
          </a:p>
        </p:txBody>
      </p:sp>
      <p:sp>
        <p:nvSpPr>
          <p:cNvPr id="37" name="Rectangle 28"/>
          <p:cNvSpPr/>
          <p:nvPr>
            <p:custDataLst>
              <p:tags r:id="rId4"/>
            </p:custDataLst>
          </p:nvPr>
        </p:nvSpPr>
        <p:spPr>
          <a:xfrm>
            <a:off x="617011" y="1998162"/>
            <a:ext cx="1778506" cy="2949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914333">
              <a:lnSpc>
                <a:spcPts val="2299"/>
              </a:lnSpc>
            </a:pPr>
            <a:r>
              <a:rPr lang="fr-FR" sz="1799" b="1" dirty="0">
                <a:solidFill>
                  <a:srgbClr val="67B419"/>
                </a:solidFill>
                <a:latin typeface="Bosch Office Sans"/>
              </a:rPr>
              <a:t>SAP Fiori UX</a:t>
            </a:r>
          </a:p>
        </p:txBody>
      </p:sp>
      <p:sp>
        <p:nvSpPr>
          <p:cNvPr id="38" name="Rectangle 33"/>
          <p:cNvSpPr/>
          <p:nvPr>
            <p:custDataLst>
              <p:tags r:id="rId5"/>
            </p:custDataLst>
          </p:nvPr>
        </p:nvSpPr>
        <p:spPr>
          <a:xfrm>
            <a:off x="606068" y="5032590"/>
            <a:ext cx="1789449" cy="6460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333"/>
            <a:r>
              <a:rPr lang="fr-FR" sz="1799" b="1" kern="0" dirty="0">
                <a:solidFill>
                  <a:srgbClr val="08427E"/>
                </a:solidFill>
                <a:latin typeface="Bosch Office Sans"/>
                <a:ea typeface="Arial Unicode MS" pitchFamily="34" charset="-128"/>
                <a:cs typeface="Arial Unicode MS" pitchFamily="34" charset="-128"/>
              </a:rPr>
              <a:t>SAP HANA </a:t>
            </a:r>
            <a:br>
              <a:rPr lang="fr-FR" sz="1799" b="1" kern="0" dirty="0">
                <a:solidFill>
                  <a:srgbClr val="08427E"/>
                </a:solidFill>
                <a:latin typeface="Bosch Office Sans"/>
                <a:ea typeface="Arial Unicode MS" pitchFamily="34" charset="-128"/>
                <a:cs typeface="Arial Unicode MS" pitchFamily="34" charset="-128"/>
              </a:rPr>
            </a:br>
            <a:r>
              <a:rPr lang="fr-FR" sz="1799" b="1" kern="0" dirty="0" err="1">
                <a:solidFill>
                  <a:srgbClr val="08427E"/>
                </a:solidFill>
                <a:latin typeface="Bosch Office Sans"/>
                <a:ea typeface="Arial Unicode MS" pitchFamily="34" charset="-128"/>
                <a:cs typeface="Arial Unicode MS" pitchFamily="34" charset="-128"/>
              </a:rPr>
              <a:t>Database</a:t>
            </a:r>
            <a:endParaRPr lang="en-US" sz="1799" b="1" dirty="0">
              <a:solidFill>
                <a:srgbClr val="08427E"/>
              </a:solidFill>
              <a:latin typeface="Bosch Office Sans"/>
            </a:endParaRPr>
          </a:p>
        </p:txBody>
      </p:sp>
      <p:cxnSp>
        <p:nvCxnSpPr>
          <p:cNvPr id="39" name="Straight Connector 72"/>
          <p:cNvCxnSpPr/>
          <p:nvPr>
            <p:custDataLst>
              <p:tags r:id="rId6"/>
            </p:custDataLst>
          </p:nvPr>
        </p:nvCxnSpPr>
        <p:spPr>
          <a:xfrm>
            <a:off x="295689" y="3022532"/>
            <a:ext cx="2340619" cy="0"/>
          </a:xfrm>
          <a:prstGeom prst="line">
            <a:avLst/>
          </a:prstGeom>
          <a:noFill/>
          <a:ln w="15875" cap="flat" cmpd="sng" algn="ctr">
            <a:solidFill>
              <a:schemeClr val="bg1">
                <a:lumMod val="75000"/>
              </a:schemeClr>
            </a:solidFill>
            <a:prstDash val="sysDot"/>
          </a:ln>
          <a:effectLst/>
        </p:spPr>
      </p:cxnSp>
      <p:cxnSp>
        <p:nvCxnSpPr>
          <p:cNvPr id="40" name="Straight Connector 72_"/>
          <p:cNvCxnSpPr/>
          <p:nvPr>
            <p:custDataLst>
              <p:tags r:id="rId7"/>
            </p:custDataLst>
          </p:nvPr>
        </p:nvCxnSpPr>
        <p:spPr>
          <a:xfrm>
            <a:off x="282930" y="4776331"/>
            <a:ext cx="2340619" cy="0"/>
          </a:xfrm>
          <a:prstGeom prst="line">
            <a:avLst/>
          </a:prstGeom>
          <a:noFill/>
          <a:ln w="15875" cap="flat" cmpd="sng" algn="ctr">
            <a:solidFill>
              <a:schemeClr val="bg1">
                <a:lumMod val="75000"/>
              </a:schemeClr>
            </a:solidFill>
            <a:prstDash val="sysDot"/>
          </a:ln>
          <a:effectLst/>
        </p:spPr>
      </p:cxnSp>
      <p:pic>
        <p:nvPicPr>
          <p:cNvPr id="41" name="Grafik 40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3425" y="1085127"/>
            <a:ext cx="1674331" cy="413186"/>
          </a:xfrm>
          <a:prstGeom prst="rect">
            <a:avLst/>
          </a:prstGeom>
        </p:spPr>
      </p:pic>
      <p:cxnSp>
        <p:nvCxnSpPr>
          <p:cNvPr id="42" name="Gewinkelter Verbinder 41"/>
          <p:cNvCxnSpPr>
            <a:stCxn id="43" idx="3"/>
            <a:endCxn id="12" idx="2"/>
          </p:cNvCxnSpPr>
          <p:nvPr/>
        </p:nvCxnSpPr>
        <p:spPr>
          <a:xfrm flipV="1">
            <a:off x="9228554" y="2191675"/>
            <a:ext cx="1557197" cy="840219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hteck 42"/>
          <p:cNvSpPr/>
          <p:nvPr/>
        </p:nvSpPr>
        <p:spPr>
          <a:xfrm>
            <a:off x="3054430" y="2900411"/>
            <a:ext cx="6174124" cy="262963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defTabSz="914333"/>
            <a:r>
              <a:rPr lang="en-GB" sz="1200" kern="0" dirty="0">
                <a:solidFill>
                  <a:prstClr val="white"/>
                </a:solidFill>
                <a:latin typeface="Bosch Office Sans"/>
              </a:rPr>
              <a:t>Dispatcher</a:t>
            </a:r>
          </a:p>
        </p:txBody>
      </p:sp>
      <p:sp>
        <p:nvSpPr>
          <p:cNvPr id="44" name="Textfeld 43"/>
          <p:cNvSpPr txBox="1"/>
          <p:nvPr/>
        </p:nvSpPr>
        <p:spPr>
          <a:xfrm>
            <a:off x="8799108" y="4555611"/>
            <a:ext cx="3960991" cy="28581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1016190">
              <a:lnSpc>
                <a:spcPts val="2556"/>
              </a:lnSpc>
              <a:spcBef>
                <a:spcPts val="556"/>
              </a:spcBef>
            </a:pPr>
            <a:r>
              <a:rPr lang="en-US" sz="1799" b="1" kern="0" dirty="0">
                <a:solidFill>
                  <a:prstClr val="black">
                    <a:lumMod val="65000"/>
                    <a:lumOff val="35000"/>
                  </a:prstClr>
                </a:solidFill>
              </a:rPr>
              <a:t>Internet</a:t>
            </a:r>
          </a:p>
        </p:txBody>
      </p:sp>
      <p:sp>
        <p:nvSpPr>
          <p:cNvPr id="45" name="Ellipse 44"/>
          <p:cNvSpPr/>
          <p:nvPr/>
        </p:nvSpPr>
        <p:spPr>
          <a:xfrm flipH="1">
            <a:off x="5154388" y="3216155"/>
            <a:ext cx="96855" cy="96855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rgbClr val="3F136C"/>
            </a:solidFill>
            <a:prstDash val="solid"/>
          </a:ln>
          <a:effectLst/>
        </p:spPr>
        <p:txBody>
          <a:bodyPr rtlCol="0" anchor="ctr"/>
          <a:lstStyle/>
          <a:p>
            <a:pPr algn="ctr" defTabSz="914333"/>
            <a:endParaRPr lang="en-US" sz="1799" kern="0" dirty="0">
              <a:solidFill>
                <a:srgbClr val="000000"/>
              </a:solidFill>
              <a:latin typeface="Bosch Office Sans"/>
            </a:endParaRPr>
          </a:p>
        </p:txBody>
      </p:sp>
      <p:sp>
        <p:nvSpPr>
          <p:cNvPr id="46" name="Ellipse 45"/>
          <p:cNvSpPr/>
          <p:nvPr/>
        </p:nvSpPr>
        <p:spPr>
          <a:xfrm flipH="1">
            <a:off x="6794838" y="3216155"/>
            <a:ext cx="96855" cy="96855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rgbClr val="3F136C"/>
            </a:solidFill>
            <a:prstDash val="solid"/>
          </a:ln>
          <a:effectLst/>
        </p:spPr>
        <p:txBody>
          <a:bodyPr rtlCol="0" anchor="ctr"/>
          <a:lstStyle/>
          <a:p>
            <a:pPr algn="ctr" defTabSz="914333"/>
            <a:endParaRPr lang="en-US" sz="1799" kern="0" dirty="0">
              <a:solidFill>
                <a:srgbClr val="000000"/>
              </a:solidFill>
              <a:latin typeface="Bosch Office Sans"/>
            </a:endParaRPr>
          </a:p>
        </p:txBody>
      </p:sp>
      <p:sp>
        <p:nvSpPr>
          <p:cNvPr id="47" name="Textfeld 46"/>
          <p:cNvSpPr txBox="1"/>
          <p:nvPr/>
        </p:nvSpPr>
        <p:spPr>
          <a:xfrm>
            <a:off x="5295753" y="3088695"/>
            <a:ext cx="914371" cy="91437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914333">
              <a:lnSpc>
                <a:spcPts val="2299"/>
              </a:lnSpc>
              <a:spcBef>
                <a:spcPts val="500"/>
              </a:spcBef>
            </a:pPr>
            <a:r>
              <a:rPr lang="en-US" sz="1000" kern="0">
                <a:solidFill>
                  <a:srgbClr val="000000"/>
                </a:solidFill>
                <a:latin typeface="Bosch Office Sans"/>
              </a:rPr>
              <a:t>oData</a:t>
            </a:r>
            <a:endParaRPr lang="en-US" sz="1000" kern="0" dirty="0">
              <a:solidFill>
                <a:srgbClr val="000000"/>
              </a:solidFill>
              <a:latin typeface="Bosch Office Sans"/>
            </a:endParaRPr>
          </a:p>
        </p:txBody>
      </p:sp>
      <p:sp>
        <p:nvSpPr>
          <p:cNvPr id="48" name="Textfeld 47"/>
          <p:cNvSpPr txBox="1"/>
          <p:nvPr/>
        </p:nvSpPr>
        <p:spPr>
          <a:xfrm>
            <a:off x="6927253" y="3081018"/>
            <a:ext cx="914371" cy="91437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914333">
              <a:lnSpc>
                <a:spcPts val="2299"/>
              </a:lnSpc>
              <a:spcBef>
                <a:spcPts val="500"/>
              </a:spcBef>
            </a:pPr>
            <a:r>
              <a:rPr lang="en-US" sz="1000" kern="0">
                <a:solidFill>
                  <a:srgbClr val="000000"/>
                </a:solidFill>
                <a:latin typeface="Bosch Office Sans"/>
              </a:rPr>
              <a:t>oData</a:t>
            </a:r>
            <a:endParaRPr lang="en-US" sz="1000" kern="0" dirty="0">
              <a:solidFill>
                <a:srgbClr val="000000"/>
              </a:solidFill>
              <a:latin typeface="Bosch Office Sans"/>
            </a:endParaRPr>
          </a:p>
        </p:txBody>
      </p:sp>
      <p:sp>
        <p:nvSpPr>
          <p:cNvPr id="49" name="Ellipse 48"/>
          <p:cNvSpPr/>
          <p:nvPr/>
        </p:nvSpPr>
        <p:spPr>
          <a:xfrm flipH="1">
            <a:off x="8411827" y="3216155"/>
            <a:ext cx="96855" cy="96855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rgbClr val="3F136C"/>
            </a:solidFill>
            <a:prstDash val="solid"/>
          </a:ln>
          <a:effectLst/>
        </p:spPr>
        <p:txBody>
          <a:bodyPr rtlCol="0" anchor="ctr"/>
          <a:lstStyle/>
          <a:p>
            <a:pPr algn="ctr" defTabSz="914333"/>
            <a:endParaRPr lang="en-US" sz="1799" kern="0" dirty="0">
              <a:solidFill>
                <a:srgbClr val="000000"/>
              </a:solidFill>
              <a:latin typeface="Bosch Office Sans"/>
            </a:endParaRPr>
          </a:p>
        </p:txBody>
      </p:sp>
      <p:sp>
        <p:nvSpPr>
          <p:cNvPr id="50" name="Textfeld 49"/>
          <p:cNvSpPr txBox="1"/>
          <p:nvPr/>
        </p:nvSpPr>
        <p:spPr>
          <a:xfrm>
            <a:off x="8553832" y="3081018"/>
            <a:ext cx="914371" cy="91437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914333">
              <a:lnSpc>
                <a:spcPts val="2299"/>
              </a:lnSpc>
              <a:spcBef>
                <a:spcPts val="500"/>
              </a:spcBef>
            </a:pPr>
            <a:r>
              <a:rPr lang="en-US" sz="1000" kern="0">
                <a:solidFill>
                  <a:srgbClr val="000000"/>
                </a:solidFill>
                <a:latin typeface="Bosch Office Sans"/>
              </a:rPr>
              <a:t>oData</a:t>
            </a:r>
            <a:endParaRPr lang="en-US" sz="1000" kern="0" dirty="0">
              <a:solidFill>
                <a:srgbClr val="000000"/>
              </a:solidFill>
              <a:latin typeface="Bosch Office Sans"/>
            </a:endParaRPr>
          </a:p>
        </p:txBody>
      </p:sp>
      <p:pic>
        <p:nvPicPr>
          <p:cNvPr id="51" name="Grafik 50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152701" y="1860192"/>
            <a:ext cx="1033849" cy="758626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>
            <a:normAutofit fontScale="92500" lnSpcReduction="20000"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08668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940"/>
          <a:stretch>
            <a:fillRect/>
          </a:stretch>
        </p:blipFill>
        <p:spPr bwMode="auto">
          <a:xfrm>
            <a:off x="4602545" y="1080063"/>
            <a:ext cx="7215753" cy="50378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3"/>
          <p:cNvSpPr>
            <a:spLocks noChangeArrowheads="1"/>
          </p:cNvSpPr>
          <p:nvPr/>
        </p:nvSpPr>
        <p:spPr bwMode="gray">
          <a:xfrm>
            <a:off x="80222" y="1432040"/>
            <a:ext cx="5805487" cy="2166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>
              <a:spcBef>
                <a:spcPct val="75000"/>
              </a:spcBef>
              <a:buClr>
                <a:schemeClr val="bg1"/>
              </a:buClr>
              <a:buSzPct val="25000"/>
              <a:buFont typeface="Wingdings" pitchFamily="2" charset="2"/>
              <a:buNone/>
            </a:pPr>
            <a:r>
              <a:rPr lang="en-US" sz="6800" dirty="0">
                <a:solidFill>
                  <a:schemeClr val="accent2"/>
                </a:solidFill>
              </a:rPr>
              <a:t>Questions</a:t>
            </a:r>
          </a:p>
        </p:txBody>
      </p:sp>
    </p:spTree>
    <p:extLst>
      <p:ext uri="{BB962C8B-B14F-4D97-AF65-F5344CB8AC3E}">
        <p14:creationId xmlns:p14="http://schemas.microsoft.com/office/powerpoint/2010/main" val="2528018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feld 7" hidden="1"/>
          <p:cNvSpPr txBox="1"/>
          <p:nvPr>
            <p:custDataLst>
              <p:tags r:id="rId2"/>
            </p:custDataLst>
          </p:nvPr>
        </p:nvSpPr>
        <p:spPr>
          <a:xfrm>
            <a:off x="197" y="1439704"/>
            <a:ext cx="0" cy="4632458"/>
          </a:xfrm>
          <a:prstGeom prst="rect">
            <a:avLst/>
          </a:prstGeom>
          <a:noFill/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vert="horz" wrap="none" lIns="0" tIns="0" rIns="0" bIns="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55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45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sp>
        <p:nvSpPr>
          <p:cNvPr id="5" name="Rechteck 4"/>
          <p:cNvSpPr>
            <a:spLocks/>
          </p:cNvSpPr>
          <p:nvPr>
            <p:custDataLst>
              <p:tags r:id="rId3"/>
            </p:custDataLst>
          </p:nvPr>
        </p:nvSpPr>
        <p:spPr>
          <a:xfrm>
            <a:off x="296606" y="6255654"/>
            <a:ext cx="320405" cy="455906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34" b="0" i="0" u="none" strike="noStrike" kern="1200" cap="none" spc="0" normalizeH="0" baseline="0" noProof="0" dirty="0">
                <a:ln>
                  <a:noFill/>
                </a:ln>
                <a:solidFill>
                  <a:srgbClr val="999FA6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t>2</a:t>
            </a:r>
          </a:p>
        </p:txBody>
      </p:sp>
      <p:sp>
        <p:nvSpPr>
          <p:cNvPr id="4" name="Rechteck 3" hidden="1"/>
          <p:cNvSpPr>
            <a:spLocks/>
          </p:cNvSpPr>
          <p:nvPr>
            <p:custDataLst>
              <p:tags r:id="rId4"/>
            </p:custDataLst>
          </p:nvPr>
        </p:nvSpPr>
        <p:spPr>
          <a:xfrm>
            <a:off x="10251733" y="287941"/>
            <a:ext cx="1880084" cy="863822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19761" rIns="0" bIns="0" rtlCol="0" anchor="t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611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288137" y="719852"/>
            <a:ext cx="11616432" cy="431911"/>
          </a:xfrm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89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3112" dirty="0">
                <a:solidFill>
                  <a:srgbClr val="A80163"/>
                </a:solidFill>
              </a:rPr>
              <a:t>Content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  <p:custDataLst>
              <p:tags r:id="rId6"/>
            </p:custDataLst>
          </p:nvPr>
        </p:nvSpPr>
        <p:spPr>
          <a:xfrm>
            <a:off x="288137" y="1439704"/>
            <a:ext cx="11616432" cy="4632458"/>
          </a:xfrm>
          <a:solidFill>
            <a:scrgbClr r="0" g="0" b="0">
              <a:alpha val="0"/>
            </a:scrgbClr>
          </a:soli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>
              <a:lnSpc>
                <a:spcPct val="150000"/>
              </a:lnSpc>
              <a:spcBef>
                <a:spcPct val="50000"/>
              </a:spcBef>
              <a:buClr>
                <a:srgbClr val="F0AB00"/>
              </a:buClr>
              <a:buSzPct val="80000"/>
              <a:buFont typeface="Wingdings" panose="05000000000000000000" pitchFamily="2" charset="2"/>
              <a:buChar char="Ø"/>
              <a:defRPr/>
            </a:pPr>
            <a:r>
              <a:rPr lang="en-US" sz="2400" b="1" dirty="0">
                <a:solidFill>
                  <a:srgbClr val="FFC000"/>
                </a:solidFill>
                <a:latin typeface="Calibri" panose="020F0502020204030204"/>
                <a:ea typeface="Arial Unicode MS" pitchFamily="34" charset="-128"/>
                <a:cs typeface="Arial Unicode MS" pitchFamily="34" charset="-128"/>
              </a:rPr>
              <a:t>Introduction good UX &amp; </a:t>
            </a:r>
            <a:r>
              <a:rPr lang="en-US" sz="2400" b="1" dirty="0" smtClean="0">
                <a:solidFill>
                  <a:srgbClr val="FFC000"/>
                </a:solidFill>
                <a:latin typeface="Calibri" panose="020F0502020204030204"/>
                <a:ea typeface="Arial Unicode MS" pitchFamily="34" charset="-128"/>
                <a:cs typeface="Arial Unicode MS" pitchFamily="34" charset="-128"/>
              </a:rPr>
              <a:t>Fiori</a:t>
            </a:r>
            <a:endParaRPr lang="en-US" sz="2400" b="1" dirty="0">
              <a:solidFill>
                <a:srgbClr val="FFC000"/>
              </a:solidFill>
              <a:latin typeface="Calibri" panose="020F0502020204030204"/>
              <a:ea typeface="Arial Unicode MS" pitchFamily="34" charset="-128"/>
              <a:cs typeface="Arial Unicode MS" pitchFamily="34" charset="-128"/>
            </a:endParaRPr>
          </a:p>
          <a:p>
            <a:pPr lvl="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SzTx/>
              <a:buFont typeface="Wingdings" panose="05000000000000000000" pitchFamily="2" charset="2"/>
              <a:buChar char="Ø"/>
              <a:defRPr/>
            </a:pPr>
            <a:r>
              <a:rPr lang="en-US" sz="2400" b="1" dirty="0">
                <a:solidFill>
                  <a:srgbClr val="FFC000"/>
                </a:solidFill>
                <a:latin typeface="Calibri" panose="020F0502020204030204"/>
                <a:ea typeface="Arial Unicode MS" pitchFamily="34" charset="-128"/>
                <a:cs typeface="Arial Unicode MS" pitchFamily="34" charset="-128"/>
              </a:rPr>
              <a:t>SAP Fiori Design </a:t>
            </a:r>
            <a:r>
              <a:rPr lang="en-US" sz="2400" b="1" dirty="0" smtClean="0">
                <a:solidFill>
                  <a:srgbClr val="FFC000"/>
                </a:solidFill>
                <a:latin typeface="Calibri" panose="020F0502020204030204"/>
                <a:ea typeface="Arial Unicode MS" pitchFamily="34" charset="-128"/>
                <a:cs typeface="Arial Unicode MS" pitchFamily="34" charset="-128"/>
              </a:rPr>
              <a:t>Principles</a:t>
            </a:r>
          </a:p>
          <a:p>
            <a:pPr lvl="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SzTx/>
              <a:buFont typeface="Wingdings" panose="05000000000000000000" pitchFamily="2" charset="2"/>
              <a:buChar char="Ø"/>
              <a:defRPr/>
            </a:pPr>
            <a:r>
              <a:rPr lang="en-US" sz="2400" b="1" dirty="0" smtClean="0">
                <a:solidFill>
                  <a:srgbClr val="FFC000"/>
                </a:solidFill>
                <a:latin typeface="Calibri" panose="020F0502020204030204"/>
                <a:ea typeface="Arial Unicode MS" pitchFamily="34" charset="-128"/>
                <a:cs typeface="Arial Unicode MS" pitchFamily="34" charset="-128"/>
              </a:rPr>
              <a:t>SAP </a:t>
            </a:r>
            <a:r>
              <a:rPr lang="en-US" sz="2400" b="1" dirty="0">
                <a:solidFill>
                  <a:srgbClr val="FFC000"/>
                </a:solidFill>
                <a:latin typeface="Calibri" panose="020F0502020204030204"/>
                <a:ea typeface="Arial Unicode MS" pitchFamily="34" charset="-128"/>
                <a:cs typeface="Arial Unicode MS" pitchFamily="34" charset="-128"/>
              </a:rPr>
              <a:t>Fiori 2.0</a:t>
            </a:r>
          </a:p>
          <a:p>
            <a:pPr lvl="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SzTx/>
              <a:buFont typeface="Wingdings" panose="05000000000000000000" pitchFamily="2" charset="2"/>
              <a:buChar char="Ø"/>
              <a:defRPr/>
            </a:pPr>
            <a:r>
              <a:rPr lang="en-US" sz="2400" b="1" dirty="0">
                <a:solidFill>
                  <a:srgbClr val="FFC000"/>
                </a:solidFill>
                <a:latin typeface="Calibri" panose="020F0502020204030204"/>
                <a:ea typeface="Arial Unicode MS" pitchFamily="34" charset="-128"/>
                <a:cs typeface="Arial Unicode MS" pitchFamily="34" charset="-128"/>
              </a:rPr>
              <a:t>SAP Fiori </a:t>
            </a:r>
            <a:r>
              <a:rPr lang="en-US" sz="2400" b="1" dirty="0" smtClean="0">
                <a:solidFill>
                  <a:srgbClr val="FFC000"/>
                </a:solidFill>
                <a:latin typeface="Calibri" panose="020F0502020204030204"/>
                <a:ea typeface="Arial Unicode MS" pitchFamily="34" charset="-128"/>
                <a:cs typeface="Arial Unicode MS" pitchFamily="34" charset="-128"/>
              </a:rPr>
              <a:t>Launchpad</a:t>
            </a:r>
          </a:p>
          <a:p>
            <a:pPr lvl="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SzTx/>
              <a:buFont typeface="Wingdings" panose="05000000000000000000" pitchFamily="2" charset="2"/>
              <a:buChar char="Ø"/>
              <a:defRPr/>
            </a:pPr>
            <a:r>
              <a:rPr lang="en-US" sz="2400" b="1" dirty="0" smtClean="0">
                <a:solidFill>
                  <a:srgbClr val="FFC000"/>
                </a:solidFill>
                <a:latin typeface="Calibri" panose="020F0502020204030204"/>
                <a:ea typeface="Arial Unicode MS" pitchFamily="34" charset="-128"/>
                <a:cs typeface="Arial Unicode MS" pitchFamily="34" charset="-128"/>
              </a:rPr>
              <a:t>S/4HANA Architecture</a:t>
            </a:r>
          </a:p>
          <a:p>
            <a:pPr lvl="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SzTx/>
              <a:buFont typeface="Wingdings" panose="05000000000000000000" pitchFamily="2" charset="2"/>
              <a:buChar char="Ø"/>
              <a:defRPr/>
            </a:pPr>
            <a:r>
              <a:rPr lang="en-US" sz="2400" b="1" dirty="0" smtClean="0">
                <a:solidFill>
                  <a:srgbClr val="FFC000"/>
                </a:solidFill>
                <a:latin typeface="Calibri" panose="020F0502020204030204"/>
                <a:ea typeface="Arial Unicode MS" pitchFamily="34" charset="-128"/>
                <a:cs typeface="Arial Unicode MS" pitchFamily="34" charset="-128"/>
              </a:rPr>
              <a:t>Q&amp;A</a:t>
            </a:r>
            <a:endParaRPr lang="en-US" sz="2400" b="1" dirty="0">
              <a:solidFill>
                <a:srgbClr val="FFC000"/>
              </a:solidFill>
              <a:latin typeface="Calibri" panose="020F0502020204030204"/>
              <a:ea typeface="Arial Unicode MS" pitchFamily="34" charset="-128"/>
              <a:cs typeface="Arial Unicode MS" pitchFamily="34" charset="-128"/>
            </a:endParaRPr>
          </a:p>
          <a:p>
            <a:pPr marL="0" indent="0">
              <a:lnSpc>
                <a:spcPct val="150000"/>
              </a:lnSpc>
              <a:spcAft>
                <a:spcPts val="0"/>
              </a:spcAft>
              <a:buNone/>
            </a:pPr>
            <a:endParaRPr lang="de-DE" dirty="0">
              <a:solidFill>
                <a:srgbClr val="000000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239949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1" y="216038"/>
            <a:ext cx="10515600" cy="1325563"/>
          </a:xfrm>
        </p:spPr>
        <p:txBody>
          <a:bodyPr>
            <a:normAutofit/>
          </a:bodyPr>
          <a:lstStyle/>
          <a:p>
            <a:r>
              <a:rPr lang="en-US" sz="4000" dirty="0"/>
              <a:t>What is good UX?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32001" y="1692000"/>
            <a:ext cx="11326284" cy="3320675"/>
          </a:xfrm>
        </p:spPr>
        <p:txBody>
          <a:bodyPr/>
          <a:lstStyle/>
          <a:p>
            <a:r>
              <a:rPr lang="en-US" sz="2400" dirty="0"/>
              <a:t>A good user experience </a:t>
            </a:r>
            <a:r>
              <a:rPr lang="en-US" dirty="0"/>
              <a:t>simplifies everything </a:t>
            </a:r>
          </a:p>
          <a:p>
            <a:r>
              <a:rPr lang="en-US" dirty="0"/>
              <a:t>-- the </a:t>
            </a:r>
            <a:r>
              <a:rPr lang="en-US" dirty="0">
                <a:solidFill>
                  <a:srgbClr val="FFC000"/>
                </a:solidFill>
              </a:rPr>
              <a:t>user interface (UI)</a:t>
            </a:r>
            <a:r>
              <a:rPr lang="en-US" dirty="0"/>
              <a:t>, the </a:t>
            </a:r>
            <a:r>
              <a:rPr lang="en-US" dirty="0">
                <a:solidFill>
                  <a:srgbClr val="FFC000"/>
                </a:solidFill>
              </a:rPr>
              <a:t>interaction</a:t>
            </a:r>
            <a:r>
              <a:rPr lang="en-US" dirty="0"/>
              <a:t>, and </a:t>
            </a:r>
          </a:p>
          <a:p>
            <a:r>
              <a:rPr lang="en-US" dirty="0"/>
              <a:t>the </a:t>
            </a:r>
            <a:r>
              <a:rPr lang="en-US" dirty="0">
                <a:solidFill>
                  <a:srgbClr val="FFC000"/>
                </a:solidFill>
              </a:rPr>
              <a:t>functionality</a:t>
            </a:r>
            <a:r>
              <a:rPr lang="en-US" dirty="0"/>
              <a:t> – and tailors them to </a:t>
            </a:r>
            <a:r>
              <a:rPr lang="en-US" dirty="0">
                <a:solidFill>
                  <a:srgbClr val="FFC000"/>
                </a:solidFill>
              </a:rPr>
              <a:t>seamlessly</a:t>
            </a:r>
          </a:p>
          <a:p>
            <a:r>
              <a:rPr lang="en-US" dirty="0"/>
              <a:t>to what you need and want for the tasks relevant </a:t>
            </a:r>
          </a:p>
          <a:p>
            <a:r>
              <a:rPr lang="en-US" dirty="0"/>
              <a:t>to your job. </a:t>
            </a:r>
          </a:p>
          <a:p>
            <a:endParaRPr lang="en-US" dirty="0"/>
          </a:p>
          <a:p>
            <a:r>
              <a:rPr lang="en-US" dirty="0" smtClean="0">
                <a:hlinkClick r:id="rId3"/>
              </a:rPr>
              <a:t>https</a:t>
            </a:r>
            <a:r>
              <a:rPr lang="en-US" dirty="0">
                <a:hlinkClick r:id="rId3"/>
              </a:rPr>
              <a:t>://videos.cdn.sap.com/vod/2015/ext/what-is-a-good-user-experience.mp4</a:t>
            </a:r>
            <a:endParaRPr lang="en-US" dirty="0"/>
          </a:p>
        </p:txBody>
      </p:sp>
      <p:sp>
        <p:nvSpPr>
          <p:cNvPr id="4" name="Foliennummernplatzhalter 3"/>
          <p:cNvSpPr txBox="1">
            <a:spLocks/>
          </p:cNvSpPr>
          <p:nvPr/>
        </p:nvSpPr>
        <p:spPr>
          <a:xfrm>
            <a:off x="296419" y="6255653"/>
            <a:ext cx="558987" cy="455906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33"/>
            <a:fld id="{4898AEC0-503E-4FA4-859C-D0F72D6E3F79}" type="slidenum">
              <a:rPr lang="de-DE" sz="1400" smtClean="0">
                <a:solidFill>
                  <a:schemeClr val="tx1">
                    <a:lumMod val="50000"/>
                    <a:lumOff val="50000"/>
                  </a:schemeClr>
                </a:solidFill>
                <a:latin typeface="Bosch Office Sans"/>
              </a:rPr>
              <a:pPr defTabSz="914333"/>
              <a:t>3</a:t>
            </a:fld>
            <a:endParaRPr lang="de-DE" sz="1400" dirty="0">
              <a:solidFill>
                <a:schemeClr val="tx1">
                  <a:lumMod val="50000"/>
                  <a:lumOff val="50000"/>
                </a:schemeClr>
              </a:solidFill>
              <a:latin typeface="Bosch Office Sans"/>
            </a:endParaRPr>
          </a:p>
        </p:txBody>
      </p:sp>
    </p:spTree>
    <p:extLst>
      <p:ext uri="{BB962C8B-B14F-4D97-AF65-F5344CB8AC3E}">
        <p14:creationId xmlns:p14="http://schemas.microsoft.com/office/powerpoint/2010/main" val="37539201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 txBox="1">
            <a:spLocks/>
          </p:cNvSpPr>
          <p:nvPr/>
        </p:nvSpPr>
        <p:spPr bwMode="gray">
          <a:xfrm>
            <a:off x="6708371" y="1288474"/>
            <a:ext cx="5160828" cy="522870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245" rtl="0" eaLnBrk="1" latinLnBrk="0" hangingPunct="1">
              <a:spcBef>
                <a:spcPts val="1620"/>
              </a:spcBef>
              <a:buClr>
                <a:schemeClr val="accent1"/>
              </a:buClr>
              <a:buSzPct val="80000"/>
              <a:buFontTx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245" rtl="0" eaLnBrk="1" latinLnBrk="0" hangingPunct="1">
              <a:spcBef>
                <a:spcPts val="600"/>
              </a:spcBef>
              <a:buClr>
                <a:schemeClr val="accent1"/>
              </a:buClr>
              <a:buSzPct val="80000"/>
              <a:buFont typeface="Wingdings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1421" indent="-171421" algn="l" defTabSz="914245" rtl="0" eaLnBrk="1" latinLnBrk="0" hangingPunct="1">
              <a:spcBef>
                <a:spcPts val="400"/>
              </a:spcBef>
              <a:buClr>
                <a:schemeClr val="accent1"/>
              </a:buClr>
              <a:buSzPct val="100000"/>
              <a:buFont typeface="Wingdings" pitchFamily="2" charset="2"/>
              <a:buChar char="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41255" indent="-169834" algn="l" defTabSz="914245" rtl="0" eaLnBrk="1" latinLnBrk="0" hangingPunct="1">
              <a:spcBef>
                <a:spcPts val="400"/>
              </a:spcBef>
              <a:buClr>
                <a:schemeClr val="accent2"/>
              </a:buClr>
              <a:buSzPct val="100000"/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12676" indent="-171421" algn="l" defTabSz="914245" rtl="0" eaLnBrk="1" latinLnBrk="0" hangingPunct="1">
              <a:spcBef>
                <a:spcPts val="400"/>
              </a:spcBef>
              <a:buClr>
                <a:schemeClr val="accent2"/>
              </a:buClr>
              <a:buSzPct val="100000"/>
              <a:buFont typeface="Courier New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174" indent="-228561" algn="l" defTabSz="9142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297" indent="-228561" algn="l" defTabSz="9142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420" indent="-228561" algn="l" defTabSz="9142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542" indent="-228561" algn="l" defTabSz="9142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245" rtl="0" eaLnBrk="1" fontAlgn="auto" latinLnBrk="0" hangingPunct="1">
              <a:lnSpc>
                <a:spcPct val="100000"/>
              </a:lnSpc>
              <a:spcBef>
                <a:spcPts val="1620"/>
              </a:spcBef>
              <a:spcAft>
                <a:spcPts val="0"/>
              </a:spcAft>
              <a:buClr>
                <a:srgbClr val="4472C4"/>
              </a:buClr>
              <a:buSzPct val="80000"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P Fiori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s the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w user experience 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UX) for SAP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ftware. It applies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dern design principles 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 a completely reimagined user experience. </a:t>
            </a:r>
          </a:p>
          <a:p>
            <a:pPr marL="0" marR="0" lvl="0" indent="0" algn="l" defTabSz="914245" rtl="0" eaLnBrk="1" fontAlgn="auto" latinLnBrk="0" hangingPunct="1">
              <a:lnSpc>
                <a:spcPct val="100000"/>
              </a:lnSpc>
              <a:spcBef>
                <a:spcPts val="1620"/>
              </a:spcBef>
              <a:spcAft>
                <a:spcPts val="0"/>
              </a:spcAft>
              <a:buClr>
                <a:srgbClr val="4472C4"/>
              </a:buClr>
              <a:buSzPct val="80000"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P Fiori UX is the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w face of SAP 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 business users in all lines of business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cross devices and deployment options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It provides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ptimal usability 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 simplified business interactions and </a:t>
            </a:r>
            <a:r>
              <a: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asy 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f use. 	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24000" y="324075"/>
            <a:ext cx="11545200" cy="756175"/>
          </a:xfrm>
        </p:spPr>
        <p:txBody>
          <a:bodyPr>
            <a:normAutofit fontScale="90000"/>
          </a:bodyPr>
          <a:lstStyle/>
          <a:p>
            <a:r>
              <a:rPr lang="en-US" dirty="0"/>
              <a:t>Introducing SAP Fiori</a:t>
            </a:r>
            <a:br>
              <a:rPr lang="en-US" dirty="0"/>
            </a:br>
            <a:r>
              <a:rPr lang="en-US" dirty="0"/>
              <a:t>Keeping Simple Things Simpl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13" r="3171" b="9718"/>
          <a:stretch/>
        </p:blipFill>
        <p:spPr>
          <a:xfrm>
            <a:off x="169296" y="1376964"/>
            <a:ext cx="6384173" cy="3687353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540989" y="5741123"/>
            <a:ext cx="820702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3"/>
              </a:rPr>
              <a:t>https://videos.cdn.sap.com/vod/2015/ext/what-is-sap-fiori.mp4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Foliennummernplatzhalter 3"/>
          <p:cNvSpPr txBox="1">
            <a:spLocks/>
          </p:cNvSpPr>
          <p:nvPr/>
        </p:nvSpPr>
        <p:spPr>
          <a:xfrm>
            <a:off x="296419" y="6255653"/>
            <a:ext cx="558987" cy="455906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33"/>
            <a:fld id="{4898AEC0-503E-4FA4-859C-D0F72D6E3F79}" type="slidenum">
              <a:rPr lang="de-DE" sz="1330" smtClean="0">
                <a:solidFill>
                  <a:schemeClr val="tx1">
                    <a:lumMod val="50000"/>
                    <a:lumOff val="50000"/>
                  </a:schemeClr>
                </a:solidFill>
                <a:latin typeface="Bosch Office Sans"/>
              </a:rPr>
              <a:pPr defTabSz="914333"/>
              <a:t>4</a:t>
            </a:fld>
            <a:endParaRPr lang="de-DE" sz="1330" dirty="0">
              <a:solidFill>
                <a:schemeClr val="tx1">
                  <a:lumMod val="50000"/>
                  <a:lumOff val="50000"/>
                </a:schemeClr>
              </a:solidFill>
              <a:latin typeface="Bosch Office Sans"/>
            </a:endParaRPr>
          </a:p>
        </p:txBody>
      </p:sp>
    </p:spTree>
    <p:extLst>
      <p:ext uri="{BB962C8B-B14F-4D97-AF65-F5344CB8AC3E}">
        <p14:creationId xmlns:p14="http://schemas.microsoft.com/office/powerpoint/2010/main" val="9863482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 hidden="1"/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10251733" y="287941"/>
            <a:ext cx="1880084" cy="863822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9761" rIns="0" bIns="0" rtlCol="0" anchor="t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611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extfeld 3" hidden="1"/>
          <p:cNvSpPr txBox="1"/>
          <p:nvPr>
            <p:custDataLst>
              <p:tags r:id="rId3"/>
            </p:custDataLst>
          </p:nvPr>
        </p:nvSpPr>
        <p:spPr>
          <a:xfrm>
            <a:off x="197" y="6640986"/>
            <a:ext cx="0" cy="0"/>
          </a:xfrm>
          <a:prstGeom prst="rect">
            <a:avLst/>
          </a:prstGeom>
          <a:noFill/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vert="horz" wrap="none" lIns="0" tIns="0" rIns="0" bIns="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55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45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09402" y="388693"/>
            <a:ext cx="11616432" cy="431911"/>
          </a:xfrm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vert="horz" wrap="square" lIns="0" tIns="0" rIns="0" bIns="0" rtlCol="0" anchor="t">
            <a:noAutofit/>
          </a:bodyPr>
          <a:lstStyle/>
          <a:p>
            <a:pPr>
              <a:lnSpc>
                <a:spcPct val="89000"/>
              </a:lnSpc>
              <a:spcBef>
                <a:spcPts val="0"/>
              </a:spcBef>
            </a:pPr>
            <a:r>
              <a:rPr lang="de-DE" sz="3112" dirty="0">
                <a:solidFill>
                  <a:srgbClr val="A80163"/>
                </a:solidFill>
              </a:rPr>
              <a:t>SAP </a:t>
            </a:r>
            <a:r>
              <a:rPr lang="de-DE" sz="3112" dirty="0" err="1">
                <a:solidFill>
                  <a:srgbClr val="A80163"/>
                </a:solidFill>
              </a:rPr>
              <a:t>Fiori</a:t>
            </a:r>
            <a:r>
              <a:rPr lang="de-DE" sz="3112" dirty="0">
                <a:solidFill>
                  <a:srgbClr val="A80163"/>
                </a:solidFill>
              </a:rPr>
              <a:t> App Library</a:t>
            </a:r>
          </a:p>
        </p:txBody>
      </p:sp>
      <p:pic>
        <p:nvPicPr>
          <p:cNvPr id="10" name="Grafik 9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6"/>
          <a:stretch>
            <a:fillRect/>
          </a:stretch>
        </p:blipFill>
        <p:spPr>
          <a:xfrm>
            <a:off x="139083" y="2739478"/>
            <a:ext cx="1438335" cy="1370649"/>
          </a:xfrm>
          <a:prstGeom prst="rect">
            <a:avLst/>
          </a:prstGeom>
        </p:spPr>
      </p:pic>
      <p:sp>
        <p:nvSpPr>
          <p:cNvPr id="11" name="Textfeld 10"/>
          <p:cNvSpPr txBox="1"/>
          <p:nvPr>
            <p:custDataLst>
              <p:tags r:id="rId6"/>
            </p:custDataLst>
          </p:nvPr>
        </p:nvSpPr>
        <p:spPr>
          <a:xfrm>
            <a:off x="501832" y="2082441"/>
            <a:ext cx="820848" cy="98840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2556"/>
              </a:lnSpc>
              <a:spcBef>
                <a:spcPts val="556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002" b="1" i="0" u="none" strike="noStrike" kern="1200" cap="none" spc="0" normalizeH="0" baseline="0" noProof="0" dirty="0">
                <a:ln>
                  <a:noFill/>
                </a:ln>
                <a:solidFill>
                  <a:srgbClr val="A8016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?</a:t>
            </a:r>
          </a:p>
        </p:txBody>
      </p:sp>
      <p:sp>
        <p:nvSpPr>
          <p:cNvPr id="12" name="Rechteck 11"/>
          <p:cNvSpPr/>
          <p:nvPr>
            <p:custDataLst>
              <p:tags r:id="rId7"/>
            </p:custDataLst>
          </p:nvPr>
        </p:nvSpPr>
        <p:spPr>
          <a:xfrm>
            <a:off x="2246776" y="4329999"/>
            <a:ext cx="2685544" cy="410474"/>
          </a:xfrm>
          <a:prstGeom prst="rect">
            <a:avLst/>
          </a:prstGeom>
          <a:solidFill>
            <a:scrgbClr r="0" g="0" b="0">
              <a:alpha val="0"/>
            </a:scrgbClr>
          </a:solidFill>
          <a:ln/>
        </p:spPr>
        <p:txBody>
          <a:bodyPr wrap="square" lIns="101626" tIns="50813" rIns="101626" bIns="50813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1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27"/>
              </a:rPr>
              <a:t>SAP </a:t>
            </a:r>
            <a:r>
              <a:rPr kumimoji="0" lang="de-DE" sz="2001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27"/>
              </a:rPr>
              <a:t>Fiori</a:t>
            </a:r>
            <a:r>
              <a:rPr kumimoji="0" lang="de-DE" sz="2001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27"/>
              </a:rPr>
              <a:t> App Library</a:t>
            </a:r>
            <a:endParaRPr kumimoji="0" lang="de-DE" sz="2001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Pfeil nach rechts 12"/>
          <p:cNvSpPr/>
          <p:nvPr>
            <p:custDataLst>
              <p:tags r:id="rId8"/>
            </p:custDataLst>
          </p:nvPr>
        </p:nvSpPr>
        <p:spPr>
          <a:xfrm>
            <a:off x="1373176" y="3233124"/>
            <a:ext cx="897698" cy="295572"/>
          </a:xfrm>
          <a:prstGeom prst="rightArrow">
            <a:avLst/>
          </a:prstGeom>
          <a:solidFill>
            <a:srgbClr val="999FA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001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4" name="Grafik 13"/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8"/>
          <a:stretch>
            <a:fillRect/>
          </a:stretch>
        </p:blipFill>
        <p:spPr>
          <a:xfrm>
            <a:off x="2374525" y="2409659"/>
            <a:ext cx="3627490" cy="1834862"/>
          </a:xfrm>
          <a:prstGeom prst="rect">
            <a:avLst/>
          </a:prstGeom>
          <a:effectLst>
            <a:outerShdw blurRad="152400" dist="1016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Rechteck 14"/>
          <p:cNvSpPr/>
          <p:nvPr>
            <p:custDataLst>
              <p:tags r:id="rId10"/>
            </p:custDataLst>
          </p:nvPr>
        </p:nvSpPr>
        <p:spPr>
          <a:xfrm>
            <a:off x="2112083" y="1355024"/>
            <a:ext cx="1969507" cy="871684"/>
          </a:xfrm>
          <a:prstGeom prst="rect">
            <a:avLst/>
          </a:prstGeom>
          <a:solidFill>
            <a:scrgbClr r="0" g="0" b="0">
              <a:alpha val="0"/>
            </a:scrgbClr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101626" tIns="50813" rIns="101626" bIns="50813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34" b="0" i="0" u="none" strike="noStrike" kern="1200" cap="none" spc="0" normalizeH="0" baseline="0" noProof="0" dirty="0">
                <a:ln>
                  <a:noFill/>
                </a:ln>
                <a:solidFill>
                  <a:srgbClr val="08427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arch apps by various categories and filters</a:t>
            </a:r>
          </a:p>
        </p:txBody>
      </p:sp>
      <p:sp>
        <p:nvSpPr>
          <p:cNvPr id="17" name="Rechteck 16"/>
          <p:cNvSpPr/>
          <p:nvPr>
            <p:custDataLst>
              <p:tags r:id="rId11"/>
            </p:custDataLst>
          </p:nvPr>
        </p:nvSpPr>
        <p:spPr>
          <a:xfrm>
            <a:off x="2270874" y="4586676"/>
            <a:ext cx="2954155" cy="871684"/>
          </a:xfrm>
          <a:prstGeom prst="rect">
            <a:avLst/>
          </a:prstGeom>
          <a:solidFill>
            <a:scrgbClr r="0" g="0" b="0">
              <a:alpha val="0"/>
            </a:scrgbClr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101626" tIns="50813" rIns="101626" bIns="50813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34" b="0" i="0" u="none" strike="noStrike" kern="1200" cap="none" spc="0" normalizeH="0" baseline="0" noProof="0" dirty="0">
                <a:ln>
                  <a:noFill/>
                </a:ln>
                <a:solidFill>
                  <a:srgbClr val="08427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tain Information for </a:t>
            </a:r>
            <a:r>
              <a:rPr kumimoji="0" lang="en-US" sz="1334" b="1" i="0" u="none" strike="noStrike" kern="1200" cap="none" spc="0" normalizeH="0" baseline="0" noProof="0" dirty="0" smtClean="0">
                <a:ln>
                  <a:noFill/>
                </a:ln>
                <a:solidFill>
                  <a:srgbClr val="08427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~</a:t>
            </a:r>
            <a:r>
              <a:rPr kumimoji="0" lang="en-US" altLang="zh-CN" sz="1334" b="1" i="0" u="none" strike="noStrike" kern="1200" cap="none" spc="0" normalizeH="0" baseline="0" noProof="0" dirty="0" smtClean="0">
                <a:ln>
                  <a:noFill/>
                </a:ln>
                <a:solidFill>
                  <a:srgbClr val="08427E"/>
                </a:solidFill>
                <a:effectLst/>
                <a:uLnTx/>
                <a:uFillTx/>
                <a:latin typeface="Calibri" panose="020F0502020204030204"/>
                <a:cs typeface="+mn-cs"/>
              </a:rPr>
              <a:t>1398</a:t>
            </a:r>
            <a:r>
              <a:rPr kumimoji="0" lang="en-US" sz="1334" b="1" i="0" u="none" strike="noStrike" kern="1200" cap="none" spc="0" normalizeH="0" baseline="0" noProof="0" dirty="0" smtClean="0">
                <a:ln>
                  <a:noFill/>
                </a:ln>
                <a:solidFill>
                  <a:srgbClr val="08427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334" b="0" i="0" u="none" strike="noStrike" kern="1200" cap="none" spc="0" normalizeH="0" baseline="0" noProof="0" dirty="0">
                <a:ln>
                  <a:noFill/>
                </a:ln>
                <a:solidFill>
                  <a:srgbClr val="08427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P Fiori apps </a:t>
            </a:r>
            <a:r>
              <a:rPr kumimoji="0" lang="en-US" sz="1334" b="0" i="0" u="none" strike="noStrike" kern="1200" cap="none" spc="0" normalizeH="0" baseline="0" noProof="0" dirty="0" smtClean="0">
                <a:ln>
                  <a:noFill/>
                </a:ln>
                <a:solidFill>
                  <a:srgbClr val="08427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</a:t>
            </a:r>
            <a:r>
              <a:rPr kumimoji="0" lang="en-US" sz="1334" b="0" i="0" u="none" strike="noStrike" kern="1200" cap="none" spc="0" normalizeH="0" noProof="0" dirty="0" smtClean="0">
                <a:ln>
                  <a:noFill/>
                </a:ln>
                <a:solidFill>
                  <a:srgbClr val="08427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/4HANA </a:t>
            </a:r>
            <a:r>
              <a:rPr kumimoji="0" lang="en-US" sz="1334" b="0" i="0" u="none" strike="noStrike" kern="1200" cap="none" spc="0" normalizeH="0" baseline="0" noProof="0" dirty="0" smtClean="0">
                <a:ln>
                  <a:noFill/>
                </a:ln>
                <a:solidFill>
                  <a:srgbClr val="08427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lang="en-US" sz="1334" dirty="0" smtClean="0">
                <a:solidFill>
                  <a:srgbClr val="08427E"/>
                </a:solidFill>
                <a:latin typeface="Calibri" panose="020F0502020204030204"/>
              </a:rPr>
              <a:t>Jun</a:t>
            </a:r>
            <a:r>
              <a:rPr kumimoji="0" lang="en-US" sz="1334" b="0" i="0" u="none" strike="noStrike" kern="1200" cap="none" spc="0" normalizeH="0" baseline="0" noProof="0" dirty="0" smtClean="0">
                <a:ln>
                  <a:noFill/>
                </a:ln>
                <a:solidFill>
                  <a:srgbClr val="08427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/201</a:t>
            </a:r>
            <a:r>
              <a:rPr kumimoji="0" lang="en-US" altLang="zh-CN" sz="1334" b="0" i="0" u="none" strike="noStrike" kern="1200" cap="none" spc="0" normalizeH="0" baseline="0" noProof="0" dirty="0" smtClean="0">
                <a:ln>
                  <a:noFill/>
                </a:ln>
                <a:solidFill>
                  <a:srgbClr val="08427E"/>
                </a:solidFill>
                <a:effectLst/>
                <a:uLnTx/>
                <a:uFillTx/>
                <a:latin typeface="Calibri" panose="020F0502020204030204"/>
                <a:cs typeface="+mn-cs"/>
              </a:rPr>
              <a:t>9</a:t>
            </a:r>
            <a:r>
              <a:rPr kumimoji="0" lang="en-US" sz="1334" b="0" i="0" u="none" strike="noStrike" kern="1200" cap="none" spc="0" normalizeH="0" baseline="0" noProof="0" dirty="0" smtClean="0">
                <a:ln>
                  <a:noFill/>
                </a:ln>
                <a:solidFill>
                  <a:srgbClr val="08427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en-US" sz="1334" b="0" i="0" u="none" strike="noStrike" kern="1200" cap="none" spc="0" normalizeH="0" baseline="0" noProof="0" dirty="0">
              <a:ln>
                <a:noFill/>
              </a:ln>
              <a:solidFill>
                <a:srgbClr val="08427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12"/>
            </p:custDataLst>
          </p:nvPr>
        </p:nvSpPr>
        <p:spPr>
          <a:xfrm>
            <a:off x="6810156" y="4784313"/>
            <a:ext cx="1532027" cy="943907"/>
          </a:xfrm>
          <a:prstGeom prst="rect">
            <a:avLst/>
          </a:prstGeom>
          <a:solidFill>
            <a:scrgbClr r="0" g="0" b="0">
              <a:alpha val="0"/>
            </a:scrgbClr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101626" tIns="50813" rIns="101626" bIns="50813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34" b="1" i="0" u="none" strike="noStrike" kern="1200" cap="none" spc="0" normalizeH="0" baseline="0" noProof="0" dirty="0">
                <a:ln>
                  <a:noFill/>
                </a:ln>
                <a:solidFill>
                  <a:srgbClr val="08427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duct features</a:t>
            </a:r>
          </a:p>
          <a:p>
            <a:pPr marL="190550" marR="0" lvl="0" indent="-1905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334" b="0" i="0" u="none" strike="noStrike" kern="1200" cap="none" spc="0" normalizeH="0" baseline="0" noProof="0" dirty="0">
                <a:ln>
                  <a:noFill/>
                </a:ln>
                <a:solidFill>
                  <a:srgbClr val="08427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ey Features </a:t>
            </a:r>
          </a:p>
          <a:p>
            <a:pPr marL="190550" marR="0" lvl="0" indent="-1905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334" b="0" i="0" u="none" strike="noStrike" kern="1200" cap="none" spc="0" normalizeH="0" baseline="0" noProof="0" dirty="0">
                <a:ln>
                  <a:noFill/>
                </a:ln>
                <a:solidFill>
                  <a:srgbClr val="08427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reenshots</a:t>
            </a:r>
          </a:p>
          <a:p>
            <a:pPr marL="190550" marR="0" lvl="0" indent="-1905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334" b="0" i="0" u="none" strike="noStrike" kern="1200" cap="none" spc="0" normalizeH="0" baseline="0" noProof="0" dirty="0">
                <a:ln>
                  <a:noFill/>
                </a:ln>
                <a:solidFill>
                  <a:srgbClr val="08427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lated apps</a:t>
            </a:r>
          </a:p>
        </p:txBody>
      </p:sp>
      <p:sp>
        <p:nvSpPr>
          <p:cNvPr id="20" name="Rechteck 19"/>
          <p:cNvSpPr/>
          <p:nvPr>
            <p:custDataLst>
              <p:tags r:id="rId13"/>
            </p:custDataLst>
          </p:nvPr>
        </p:nvSpPr>
        <p:spPr>
          <a:xfrm>
            <a:off x="8791637" y="4784312"/>
            <a:ext cx="2916738" cy="1224425"/>
          </a:xfrm>
          <a:prstGeom prst="rect">
            <a:avLst/>
          </a:prstGeom>
          <a:solidFill>
            <a:scrgbClr r="0" g="0" b="0">
              <a:alpha val="0"/>
            </a:scrgbClr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101626" tIns="50813" rIns="101626" bIns="50813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34" b="1" i="0" u="none" strike="noStrike" kern="1200" cap="none" spc="0" normalizeH="0" baseline="0" noProof="0" dirty="0">
                <a:ln>
                  <a:noFill/>
                </a:ln>
                <a:solidFill>
                  <a:srgbClr val="08427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plementation Information</a:t>
            </a:r>
          </a:p>
          <a:p>
            <a:pPr marL="190550" marR="0" lvl="0" indent="-1905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334" b="0" i="0" u="none" strike="noStrike" kern="1200" cap="none" spc="0" normalizeH="0" baseline="0" noProof="0" dirty="0">
                <a:ln>
                  <a:noFill/>
                </a:ln>
                <a:solidFill>
                  <a:srgbClr val="08427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ersion History</a:t>
            </a:r>
          </a:p>
          <a:p>
            <a:pPr marL="190550" marR="0" lvl="0" indent="-1905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334" b="0" i="0" u="none" strike="noStrike" kern="1200" cap="none" spc="0" normalizeH="0" baseline="0" noProof="0" dirty="0">
                <a:ln>
                  <a:noFill/>
                </a:ln>
                <a:solidFill>
                  <a:srgbClr val="08427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stallation Details</a:t>
            </a:r>
          </a:p>
          <a:p>
            <a:pPr marL="190550" marR="0" lvl="0" indent="-1905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334" b="0" i="0" u="none" strike="noStrike" kern="1200" cap="none" spc="0" normalizeH="0" baseline="0" noProof="0" dirty="0">
                <a:ln>
                  <a:noFill/>
                </a:ln>
                <a:solidFill>
                  <a:srgbClr val="08427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figuration &amp; Customizing</a:t>
            </a:r>
          </a:p>
          <a:p>
            <a:pPr marL="190550" marR="0" lvl="0" indent="-1905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334" b="0" i="0" u="none" strike="noStrike" kern="1200" cap="none" spc="0" normalizeH="0" baseline="0" noProof="0" dirty="0">
                <a:ln>
                  <a:noFill/>
                </a:ln>
                <a:solidFill>
                  <a:srgbClr val="08427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tensibility</a:t>
            </a:r>
          </a:p>
          <a:p>
            <a:pPr marL="190550" marR="0" lvl="0" indent="-1905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334" b="0" i="0" u="none" strike="noStrike" kern="1200" cap="none" spc="0" normalizeH="0" baseline="0" noProof="0" dirty="0">
                <a:ln>
                  <a:noFill/>
                </a:ln>
                <a:solidFill>
                  <a:srgbClr val="08427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pport (Notes &amp; App Component)</a:t>
            </a:r>
          </a:p>
        </p:txBody>
      </p:sp>
      <p:pic>
        <p:nvPicPr>
          <p:cNvPr id="21" name="Grafik 20"/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29"/>
          <a:stretch>
            <a:fillRect/>
          </a:stretch>
        </p:blipFill>
        <p:spPr>
          <a:xfrm>
            <a:off x="7618299" y="2389493"/>
            <a:ext cx="2807463" cy="1853471"/>
          </a:xfrm>
          <a:prstGeom prst="rect">
            <a:avLst/>
          </a:prstGeom>
          <a:effectLst>
            <a:outerShdw blurRad="152400" dist="1016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2" name="Rechteck 21"/>
          <p:cNvSpPr/>
          <p:nvPr>
            <p:custDataLst>
              <p:tags r:id="rId15"/>
            </p:custDataLst>
          </p:nvPr>
        </p:nvSpPr>
        <p:spPr>
          <a:xfrm>
            <a:off x="2359933" y="2837876"/>
            <a:ext cx="1145035" cy="1195412"/>
          </a:xfrm>
          <a:prstGeom prst="rect">
            <a:avLst/>
          </a:prstGeom>
          <a:noFill/>
          <a:ln w="9525">
            <a:solidFill>
              <a:srgbClr val="A8016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001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4" name="Gerader Verbinder 23"/>
          <p:cNvCxnSpPr>
            <a:stCxn id="15" idx="2"/>
            <a:endCxn id="22" idx="0"/>
          </p:cNvCxnSpPr>
          <p:nvPr>
            <p:custDataLst>
              <p:tags r:id="rId16"/>
            </p:custDataLst>
          </p:nvPr>
        </p:nvCxnSpPr>
        <p:spPr>
          <a:xfrm flipH="1">
            <a:off x="2932451" y="2226709"/>
            <a:ext cx="164386" cy="611167"/>
          </a:xfrm>
          <a:prstGeom prst="line">
            <a:avLst/>
          </a:prstGeom>
          <a:ln>
            <a:solidFill>
              <a:srgbClr val="A8016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feil nach rechts 25"/>
          <p:cNvSpPr/>
          <p:nvPr>
            <p:custDataLst>
              <p:tags r:id="rId17"/>
            </p:custDataLst>
          </p:nvPr>
        </p:nvSpPr>
        <p:spPr>
          <a:xfrm>
            <a:off x="6417362" y="3233124"/>
            <a:ext cx="897698" cy="295572"/>
          </a:xfrm>
          <a:prstGeom prst="rightArrow">
            <a:avLst/>
          </a:prstGeom>
          <a:solidFill>
            <a:srgbClr val="999FA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001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Rechteck 26"/>
          <p:cNvSpPr/>
          <p:nvPr>
            <p:custDataLst>
              <p:tags r:id="rId18"/>
            </p:custDataLst>
          </p:nvPr>
        </p:nvSpPr>
        <p:spPr>
          <a:xfrm>
            <a:off x="7600986" y="2337242"/>
            <a:ext cx="1778456" cy="1314948"/>
          </a:xfrm>
          <a:prstGeom prst="rect">
            <a:avLst/>
          </a:prstGeom>
          <a:noFill/>
          <a:ln w="9525">
            <a:solidFill>
              <a:srgbClr val="A8016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001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Rechteck 27"/>
          <p:cNvSpPr/>
          <p:nvPr>
            <p:custDataLst>
              <p:tags r:id="rId19"/>
            </p:custDataLst>
          </p:nvPr>
        </p:nvSpPr>
        <p:spPr>
          <a:xfrm>
            <a:off x="7450286" y="861832"/>
            <a:ext cx="2517742" cy="871684"/>
          </a:xfrm>
          <a:prstGeom prst="rect">
            <a:avLst/>
          </a:prstGeom>
          <a:solidFill>
            <a:scrgbClr r="0" g="0" b="0">
              <a:alpha val="0"/>
            </a:scrgbClr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101626" tIns="50813" rIns="101626" bIns="50813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34" b="1" i="0" u="none" strike="noStrike" kern="1200" cap="none" spc="0" normalizeH="0" baseline="0" noProof="0" dirty="0">
                <a:ln>
                  <a:noFill/>
                </a:ln>
                <a:solidFill>
                  <a:srgbClr val="08427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eneral Information</a:t>
            </a:r>
          </a:p>
          <a:p>
            <a:pPr marL="190550" marR="0" lvl="0" indent="-1905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334" b="0" i="0" u="none" strike="noStrike" kern="1200" cap="none" spc="0" normalizeH="0" baseline="0" noProof="0" dirty="0">
                <a:ln>
                  <a:noFill/>
                </a:ln>
                <a:solidFill>
                  <a:srgbClr val="08427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ser Role and </a:t>
            </a:r>
            <a:r>
              <a:rPr kumimoji="0" lang="en-US" sz="1334" b="0" i="0" u="none" strike="noStrike" kern="1200" cap="none" spc="0" normalizeH="0" baseline="0" noProof="0" dirty="0" err="1">
                <a:ln>
                  <a:noFill/>
                </a:ln>
                <a:solidFill>
                  <a:srgbClr val="08427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oB</a:t>
            </a:r>
            <a:endParaRPr kumimoji="0" lang="en-US" sz="1334" b="0" i="0" u="none" strike="noStrike" kern="1200" cap="none" spc="0" normalizeH="0" baseline="0" noProof="0" dirty="0">
              <a:ln>
                <a:noFill/>
              </a:ln>
              <a:solidFill>
                <a:srgbClr val="08427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90550" marR="0" lvl="0" indent="-1905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334" b="0" i="0" u="none" strike="noStrike" kern="1200" cap="none" spc="0" normalizeH="0" baseline="0" noProof="0" dirty="0">
                <a:ln>
                  <a:noFill/>
                </a:ln>
                <a:solidFill>
                  <a:srgbClr val="08427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ackend Requirements (HANA/</a:t>
            </a:r>
            <a:r>
              <a:rPr kumimoji="0" lang="en-US" sz="1334" b="0" i="0" u="none" strike="noStrike" kern="1200" cap="none" spc="0" normalizeH="0" baseline="0" noProof="0" dirty="0" err="1">
                <a:ln>
                  <a:noFill/>
                </a:ln>
                <a:solidFill>
                  <a:srgbClr val="08427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yDB</a:t>
            </a:r>
            <a:r>
              <a:rPr kumimoji="0" lang="en-US" sz="1334" b="0" i="0" u="none" strike="noStrike" kern="1200" cap="none" spc="0" normalizeH="0" baseline="0" noProof="0" dirty="0">
                <a:ln>
                  <a:noFill/>
                </a:ln>
                <a:solidFill>
                  <a:srgbClr val="08427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</a:p>
        </p:txBody>
      </p:sp>
      <p:cxnSp>
        <p:nvCxnSpPr>
          <p:cNvPr id="29" name="Gerader Verbinder 28"/>
          <p:cNvCxnSpPr>
            <a:stCxn id="28" idx="2"/>
            <a:endCxn id="27" idx="0"/>
          </p:cNvCxnSpPr>
          <p:nvPr>
            <p:custDataLst>
              <p:tags r:id="rId20"/>
            </p:custDataLst>
          </p:nvPr>
        </p:nvCxnSpPr>
        <p:spPr>
          <a:xfrm flipH="1">
            <a:off x="8490214" y="1733517"/>
            <a:ext cx="218943" cy="603725"/>
          </a:xfrm>
          <a:prstGeom prst="line">
            <a:avLst/>
          </a:prstGeom>
          <a:ln>
            <a:solidFill>
              <a:srgbClr val="A8016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hteck 35"/>
          <p:cNvSpPr/>
          <p:nvPr>
            <p:custDataLst>
              <p:tags r:id="rId21"/>
            </p:custDataLst>
          </p:nvPr>
        </p:nvSpPr>
        <p:spPr>
          <a:xfrm>
            <a:off x="7590285" y="3731662"/>
            <a:ext cx="794069" cy="259592"/>
          </a:xfrm>
          <a:prstGeom prst="rect">
            <a:avLst/>
          </a:prstGeom>
          <a:noFill/>
          <a:ln w="9525">
            <a:solidFill>
              <a:srgbClr val="A8016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001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7" name="Gerader Verbinder 36"/>
          <p:cNvCxnSpPr>
            <a:stCxn id="36" idx="2"/>
            <a:endCxn id="19" idx="0"/>
          </p:cNvCxnSpPr>
          <p:nvPr>
            <p:custDataLst>
              <p:tags r:id="rId22"/>
            </p:custDataLst>
          </p:nvPr>
        </p:nvCxnSpPr>
        <p:spPr>
          <a:xfrm flipH="1">
            <a:off x="7576170" y="3991253"/>
            <a:ext cx="411150" cy="793060"/>
          </a:xfrm>
          <a:prstGeom prst="line">
            <a:avLst/>
          </a:prstGeom>
          <a:ln>
            <a:solidFill>
              <a:srgbClr val="A8016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hteck 42"/>
          <p:cNvSpPr/>
          <p:nvPr>
            <p:custDataLst>
              <p:tags r:id="rId23"/>
            </p:custDataLst>
          </p:nvPr>
        </p:nvSpPr>
        <p:spPr>
          <a:xfrm>
            <a:off x="8412254" y="3728674"/>
            <a:ext cx="1073049" cy="262580"/>
          </a:xfrm>
          <a:prstGeom prst="rect">
            <a:avLst/>
          </a:prstGeom>
          <a:noFill/>
          <a:ln w="9525">
            <a:solidFill>
              <a:srgbClr val="A8016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001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44" name="Gerader Verbinder 43"/>
          <p:cNvCxnSpPr>
            <a:stCxn id="43" idx="2"/>
            <a:endCxn id="20" idx="0"/>
          </p:cNvCxnSpPr>
          <p:nvPr>
            <p:custDataLst>
              <p:tags r:id="rId24"/>
            </p:custDataLst>
          </p:nvPr>
        </p:nvCxnSpPr>
        <p:spPr>
          <a:xfrm>
            <a:off x="8948778" y="3991254"/>
            <a:ext cx="1301228" cy="793058"/>
          </a:xfrm>
          <a:prstGeom prst="line">
            <a:avLst/>
          </a:prstGeom>
          <a:ln>
            <a:solidFill>
              <a:srgbClr val="A8016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296419" y="6255653"/>
            <a:ext cx="558987" cy="455906"/>
          </a:xfrm>
        </p:spPr>
        <p:txBody>
          <a:bodyPr/>
          <a:lstStyle/>
          <a:p>
            <a:pPr defTabSz="914333"/>
            <a:fld id="{4898AEC0-503E-4FA4-859C-D0F72D6E3F79}" type="slidenum">
              <a:rPr lang="de-DE" sz="1330">
                <a:solidFill>
                  <a:schemeClr val="tx1">
                    <a:lumMod val="50000"/>
                    <a:lumOff val="50000"/>
                  </a:schemeClr>
                </a:solidFill>
                <a:latin typeface="Bosch Office Sans"/>
              </a:rPr>
              <a:pPr defTabSz="914333"/>
              <a:t>5</a:t>
            </a:fld>
            <a:endParaRPr lang="de-DE" sz="1330" dirty="0">
              <a:solidFill>
                <a:schemeClr val="tx1">
                  <a:lumMod val="50000"/>
                  <a:lumOff val="50000"/>
                </a:schemeClr>
              </a:solidFill>
              <a:latin typeface="Bosch Office San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548871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324000" y="324075"/>
            <a:ext cx="11545200" cy="756175"/>
          </a:xfrm>
        </p:spPr>
        <p:txBody>
          <a:bodyPr/>
          <a:lstStyle/>
          <a:p>
            <a:pPr>
              <a:spcBef>
                <a:spcPts val="1935"/>
              </a:spcBef>
              <a:defRPr/>
            </a:pPr>
            <a:r>
              <a:rPr lang="en-US" altLang="ja-JP" dirty="0"/>
              <a:t>SAP Fiori UX Design Principles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2833892" y="4514725"/>
            <a:ext cx="1898249" cy="831168"/>
          </a:xfrm>
          <a:prstGeom prst="rect">
            <a:avLst/>
          </a:prstGeom>
        </p:spPr>
        <p:txBody>
          <a:bodyPr wrap="square" lIns="91412" tIns="45706" rIns="91412" bIns="45706">
            <a:spAutoFit/>
          </a:bodyPr>
          <a:lstStyle/>
          <a:p>
            <a:pPr marL="0" marR="0" lvl="0" indent="0" algn="ctr" defTabSz="10884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 Light" panose="020F0302020204030204"/>
                <a:ea typeface="+mn-ea"/>
                <a:cs typeface="Calibri" pitchFamily="34" charset="0"/>
              </a:rPr>
              <a:t>Supports how and where you work, at any time </a:t>
            </a:r>
          </a:p>
        </p:txBody>
      </p:sp>
      <p:sp>
        <p:nvSpPr>
          <p:cNvPr id="6" name="Rectangle 5"/>
          <p:cNvSpPr/>
          <p:nvPr/>
        </p:nvSpPr>
        <p:spPr>
          <a:xfrm>
            <a:off x="7571368" y="4514725"/>
            <a:ext cx="1947300" cy="831168"/>
          </a:xfrm>
          <a:prstGeom prst="rect">
            <a:avLst/>
          </a:prstGeom>
        </p:spPr>
        <p:txBody>
          <a:bodyPr wrap="square" lIns="91412" tIns="45706" rIns="91412" bIns="45706">
            <a:spAutoFit/>
          </a:bodyPr>
          <a:lstStyle/>
          <a:p>
            <a:pPr marL="0" marR="0" lvl="0" indent="0" algn="ctr" defTabSz="10884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 Light" panose="020F0302020204030204"/>
                <a:ea typeface="+mn-ea"/>
                <a:cs typeface="Calibri" pitchFamily="34" charset="0"/>
              </a:rPr>
              <a:t>Provides one fluid, seamless experience</a:t>
            </a:r>
          </a:p>
        </p:txBody>
      </p:sp>
      <p:sp>
        <p:nvSpPr>
          <p:cNvPr id="7" name="Rectangle 6"/>
          <p:cNvSpPr/>
          <p:nvPr/>
        </p:nvSpPr>
        <p:spPr>
          <a:xfrm>
            <a:off x="9866313" y="4514725"/>
            <a:ext cx="1993900" cy="831168"/>
          </a:xfrm>
          <a:prstGeom prst="rect">
            <a:avLst/>
          </a:prstGeom>
        </p:spPr>
        <p:txBody>
          <a:bodyPr lIns="91412" tIns="45706" rIns="91412" bIns="45706">
            <a:spAutoFit/>
          </a:bodyPr>
          <a:lstStyle/>
          <a:p>
            <a:pPr marL="0" marR="0" lvl="0" indent="0" algn="ctr" defTabSz="10884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 Light" panose="020F0302020204030204"/>
                <a:ea typeface="+mn-ea"/>
                <a:cs typeface="Calibri" pitchFamily="34" charset="0"/>
              </a:rPr>
              <a:t>Makes an emotional connection</a:t>
            </a:r>
          </a:p>
        </p:txBody>
      </p:sp>
      <p:sp>
        <p:nvSpPr>
          <p:cNvPr id="8" name="Rectangle 7"/>
          <p:cNvSpPr/>
          <p:nvPr/>
        </p:nvSpPr>
        <p:spPr>
          <a:xfrm>
            <a:off x="385764" y="4514725"/>
            <a:ext cx="2063501" cy="831168"/>
          </a:xfrm>
          <a:prstGeom prst="rect">
            <a:avLst/>
          </a:prstGeom>
        </p:spPr>
        <p:txBody>
          <a:bodyPr wrap="square" lIns="91412" tIns="45706" rIns="91412" bIns="45706">
            <a:spAutoFit/>
          </a:bodyPr>
          <a:lstStyle/>
          <a:p>
            <a:pPr marL="0" marR="0" lvl="0" indent="0" algn="ctr" defTabSz="10884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 Light" panose="020F0302020204030204"/>
                <a:ea typeface="+mn-ea"/>
                <a:cs typeface="Calibri" pitchFamily="34" charset="0"/>
              </a:rPr>
              <a:t>Designed for you, your needs and how you work</a:t>
            </a:r>
          </a:p>
        </p:txBody>
      </p:sp>
      <p:sp>
        <p:nvSpPr>
          <p:cNvPr id="9" name="Rectangle 8"/>
          <p:cNvSpPr/>
          <p:nvPr/>
        </p:nvSpPr>
        <p:spPr>
          <a:xfrm>
            <a:off x="5439061" y="4514724"/>
            <a:ext cx="1628115" cy="584890"/>
          </a:xfrm>
          <a:prstGeom prst="rect">
            <a:avLst/>
          </a:prstGeom>
        </p:spPr>
        <p:txBody>
          <a:bodyPr wrap="square" lIns="91412" tIns="45706" rIns="91412" bIns="45706">
            <a:spAutoFit/>
          </a:bodyPr>
          <a:lstStyle/>
          <a:p>
            <a:pPr marL="0" marR="0" lvl="0" indent="0" algn="ctr" defTabSz="10884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 Light" panose="020F0302020204030204"/>
                <a:ea typeface="+mn-ea"/>
                <a:cs typeface="Calibri" pitchFamily="34" charset="0"/>
              </a:rPr>
              <a:t>Focuses on the important</a:t>
            </a:r>
          </a:p>
        </p:txBody>
      </p:sp>
      <p:sp>
        <p:nvSpPr>
          <p:cNvPr id="10" name="Oval 9"/>
          <p:cNvSpPr/>
          <p:nvPr/>
        </p:nvSpPr>
        <p:spPr bwMode="ltGray">
          <a:xfrm>
            <a:off x="2883114" y="2376663"/>
            <a:ext cx="1780033" cy="1784763"/>
          </a:xfrm>
          <a:prstGeom prst="ellipse">
            <a:avLst/>
          </a:prstGeom>
          <a:solidFill>
            <a:srgbClr val="0FABFF"/>
          </a:solidFill>
          <a:ln>
            <a:noFill/>
          </a:ln>
          <a:effectLst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spcFirstLastPara="0" vert="horz" wrap="none" lIns="20317" tIns="731617" rIns="20317" bIns="20317" numCol="1" spcCol="127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sponsive</a:t>
            </a:r>
          </a:p>
        </p:txBody>
      </p:sp>
      <p:sp>
        <p:nvSpPr>
          <p:cNvPr id="11" name="Oval 10"/>
          <p:cNvSpPr/>
          <p:nvPr/>
        </p:nvSpPr>
        <p:spPr bwMode="auto">
          <a:xfrm>
            <a:off x="5254222" y="2376663"/>
            <a:ext cx="1780033" cy="1784763"/>
          </a:xfrm>
          <a:prstGeom prst="ellipse">
            <a:avLst/>
          </a:prstGeom>
          <a:solidFill>
            <a:srgbClr val="0FABFF"/>
          </a:solidFill>
          <a:ln>
            <a:noFill/>
          </a:ln>
          <a:effectLst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spcFirstLastPara="0" vert="horz" wrap="none" lIns="20317" tIns="731617" rIns="20317" bIns="20317" numCol="1" spcCol="127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mple</a:t>
            </a:r>
          </a:p>
        </p:txBody>
      </p:sp>
      <p:sp>
        <p:nvSpPr>
          <p:cNvPr id="12" name="Oval 11"/>
          <p:cNvSpPr/>
          <p:nvPr/>
        </p:nvSpPr>
        <p:spPr bwMode="ltGray">
          <a:xfrm>
            <a:off x="7571368" y="2376663"/>
            <a:ext cx="1780033" cy="1784763"/>
          </a:xfrm>
          <a:prstGeom prst="ellipse">
            <a:avLst/>
          </a:prstGeom>
          <a:solidFill>
            <a:srgbClr val="0FABFF"/>
          </a:solidFill>
          <a:ln>
            <a:noFill/>
          </a:ln>
          <a:effectLst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spcFirstLastPara="0" vert="horz" wrap="none" lIns="20317" tIns="731617" rIns="20317" bIns="20317" numCol="1" spcCol="127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herent</a:t>
            </a:r>
          </a:p>
        </p:txBody>
      </p:sp>
      <p:sp>
        <p:nvSpPr>
          <p:cNvPr id="13" name="Oval 12"/>
          <p:cNvSpPr/>
          <p:nvPr/>
        </p:nvSpPr>
        <p:spPr bwMode="auto">
          <a:xfrm>
            <a:off x="9898037" y="2376663"/>
            <a:ext cx="1780033" cy="1784763"/>
          </a:xfrm>
          <a:prstGeom prst="ellipse">
            <a:avLst/>
          </a:prstGeom>
          <a:solidFill>
            <a:srgbClr val="0FABFF"/>
          </a:solidFill>
          <a:ln>
            <a:noFill/>
          </a:ln>
          <a:effectLst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spcFirstLastPara="0" vert="horz" wrap="none" lIns="20317" tIns="731617" rIns="20317" bIns="20317" numCol="1" spcCol="127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lightful</a:t>
            </a:r>
          </a:p>
        </p:txBody>
      </p:sp>
      <p:sp>
        <p:nvSpPr>
          <p:cNvPr id="14" name="Oval 13"/>
          <p:cNvSpPr/>
          <p:nvPr/>
        </p:nvSpPr>
        <p:spPr bwMode="ltGray">
          <a:xfrm>
            <a:off x="537399" y="2376663"/>
            <a:ext cx="1780033" cy="1784763"/>
          </a:xfrm>
          <a:prstGeom prst="ellipse">
            <a:avLst/>
          </a:prstGeom>
          <a:solidFill>
            <a:srgbClr val="0FABFF"/>
          </a:solidFill>
          <a:ln>
            <a:noFill/>
          </a:ln>
          <a:effectLst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spcFirstLastPara="0" vert="horz" wrap="none" lIns="20317" tIns="731617" rIns="20317" bIns="20317" numCol="1" spcCol="127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le-based</a:t>
            </a:r>
          </a:p>
        </p:txBody>
      </p:sp>
      <p:pic>
        <p:nvPicPr>
          <p:cNvPr id="15" name="Picture 2" descr="\\psf\Home\Graphic Tank\Main Icon Set 48x48 v3_patients-48.pn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27748" y="2597398"/>
            <a:ext cx="609629" cy="6099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_" descr="\\psf\Host\Users\eric\Graphic Tank\Misc-28.png"/>
          <p:cNvPicPr>
            <a:picLocks noChangeAspect="1" noChangeArrowheads="1"/>
          </p:cNvPicPr>
          <p:nvPr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68403" y="2597426"/>
            <a:ext cx="907047" cy="609883"/>
          </a:xfrm>
          <a:prstGeom prst="rect">
            <a:avLst/>
          </a:prstGeom>
          <a:noFill/>
        </p:spPr>
      </p:pic>
      <p:pic>
        <p:nvPicPr>
          <p:cNvPr id="17" name="Picture 19" descr="\\psf\Host\Users\eric\Graphic Tank\Misc-57.png"/>
          <p:cNvPicPr>
            <a:picLocks noChangeAspect="1" noChangeArrowheads="1"/>
          </p:cNvPicPr>
          <p:nvPr/>
        </p:nvPicPr>
        <p:blipFill>
          <a:blip r:embed="rId4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24987" y="2597426"/>
            <a:ext cx="643880" cy="609883"/>
          </a:xfrm>
          <a:prstGeom prst="rect">
            <a:avLst/>
          </a:prstGeom>
          <a:noFill/>
        </p:spPr>
      </p:pic>
      <p:pic>
        <p:nvPicPr>
          <p:cNvPr id="18" name="Picture 3" descr="\\psf\Home\Graphic Tank\Electronics v1-44.png"/>
          <p:cNvPicPr>
            <a:picLocks noChangeAspect="1" noChangeArrowheads="1"/>
          </p:cNvPicPr>
          <p:nvPr/>
        </p:nvPicPr>
        <p:blipFill>
          <a:blip r:embed="rId5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97267" y="2633854"/>
            <a:ext cx="921721" cy="5734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44" descr="\\psf\Host\Users\eric\Graphic Tank\Misc-32.png"/>
          <p:cNvPicPr>
            <a:picLocks noChangeAspect="1" noChangeArrowheads="1"/>
          </p:cNvPicPr>
          <p:nvPr/>
        </p:nvPicPr>
        <p:blipFill>
          <a:blip r:embed="rId6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475128" y="2597426"/>
            <a:ext cx="639747" cy="609883"/>
          </a:xfrm>
          <a:prstGeom prst="rect">
            <a:avLst/>
          </a:prstGeom>
          <a:noFill/>
        </p:spPr>
      </p:pic>
      <p:pic>
        <p:nvPicPr>
          <p:cNvPr id="20" name="Picture 19_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03396" y="217845"/>
            <a:ext cx="962375" cy="962347"/>
          </a:xfrm>
          <a:prstGeom prst="rect">
            <a:avLst/>
          </a:prstGeom>
        </p:spPr>
      </p:pic>
      <p:sp>
        <p:nvSpPr>
          <p:cNvPr id="21" name="Foliennummernplatzhalter 3"/>
          <p:cNvSpPr txBox="1">
            <a:spLocks/>
          </p:cNvSpPr>
          <p:nvPr/>
        </p:nvSpPr>
        <p:spPr>
          <a:xfrm>
            <a:off x="296419" y="6255653"/>
            <a:ext cx="558987" cy="455906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33"/>
            <a:fld id="{4898AEC0-503E-4FA4-859C-D0F72D6E3F79}" type="slidenum">
              <a:rPr lang="de-DE" sz="1330" smtClean="0">
                <a:solidFill>
                  <a:schemeClr val="tx1">
                    <a:lumMod val="50000"/>
                    <a:lumOff val="50000"/>
                  </a:schemeClr>
                </a:solidFill>
                <a:latin typeface="Bosch Office Sans"/>
              </a:rPr>
              <a:pPr defTabSz="914333"/>
              <a:t>6</a:t>
            </a:fld>
            <a:endParaRPr lang="de-DE" sz="1330" dirty="0">
              <a:solidFill>
                <a:schemeClr val="tx1">
                  <a:lumMod val="50000"/>
                  <a:lumOff val="50000"/>
                </a:schemeClr>
              </a:solidFill>
              <a:latin typeface="Bosch Office Sans"/>
            </a:endParaRPr>
          </a:p>
        </p:txBody>
      </p:sp>
    </p:spTree>
    <p:extLst>
      <p:ext uri="{BB962C8B-B14F-4D97-AF65-F5344CB8AC3E}">
        <p14:creationId xmlns:p14="http://schemas.microsoft.com/office/powerpoint/2010/main" val="36585509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324000" y="324075"/>
            <a:ext cx="11545200" cy="756175"/>
          </a:xfrm>
        </p:spPr>
        <p:txBody>
          <a:bodyPr vert="horz" lIns="0" tIns="0" rIns="0" bIns="0" rtlCol="0" anchor="ctr" anchorCtr="0">
            <a:normAutofit/>
          </a:bodyPr>
          <a:lstStyle/>
          <a:p>
            <a:pPr lvl="2" algn="l" defTabSz="913749" rtl="0">
              <a:spcBef>
                <a:spcPct val="0"/>
              </a:spcBef>
            </a:pPr>
            <a:r>
              <a:rPr lang="en-US" sz="2400" b="1" kern="1200" dirty="0" smtClean="0">
                <a:solidFill>
                  <a:schemeClr val="accent2"/>
                </a:solidFill>
                <a:latin typeface="+mj-lt"/>
                <a:ea typeface="+mj-ea"/>
                <a:cs typeface="Helvetica"/>
              </a:rPr>
              <a:t>Fiori Apps Designed for Specific Roles</a:t>
            </a:r>
            <a:br>
              <a:rPr lang="en-US" sz="2400" b="1" kern="1200" dirty="0" smtClean="0">
                <a:solidFill>
                  <a:schemeClr val="accent2"/>
                </a:solidFill>
                <a:latin typeface="+mj-lt"/>
                <a:ea typeface="+mj-ea"/>
                <a:cs typeface="Helvetica"/>
              </a:rPr>
            </a:br>
            <a:r>
              <a:rPr lang="en-US" sz="2000" dirty="0" smtClean="0">
                <a:solidFill>
                  <a:srgbClr val="666666"/>
                </a:solidFill>
                <a:latin typeface="+mj-lt"/>
                <a:cs typeface="Helvetica"/>
              </a:rPr>
              <a:t>Apps providing the right info for the right role </a:t>
            </a:r>
            <a:endParaRPr lang="en-US" sz="2000" b="1" kern="1200" dirty="0">
              <a:solidFill>
                <a:schemeClr val="accent2"/>
              </a:solidFill>
              <a:latin typeface="+mj-lt"/>
              <a:ea typeface="+mj-ea"/>
              <a:cs typeface="Helvetica"/>
            </a:endParaRPr>
          </a:p>
        </p:txBody>
      </p:sp>
      <p:pic>
        <p:nvPicPr>
          <p:cNvPr id="5" name="Picture 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68045" y="190255"/>
            <a:ext cx="1014364" cy="10179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angle 5"/>
          <p:cNvSpPr/>
          <p:nvPr/>
        </p:nvSpPr>
        <p:spPr bwMode="gray">
          <a:xfrm>
            <a:off x="6506313" y="1570618"/>
            <a:ext cx="5212440" cy="4629601"/>
          </a:xfrm>
          <a:prstGeom prst="rect">
            <a:avLst/>
          </a:prstGeom>
          <a:noFill/>
          <a:ln w="9525" algn="ctr">
            <a:solidFill>
              <a:schemeClr val="bg2"/>
            </a:solidFill>
            <a:miter lim="800000"/>
            <a:headEnd/>
            <a:tailEnd/>
          </a:ln>
        </p:spPr>
        <p:txBody>
          <a:bodyPr lIns="158533" tIns="121948" rIns="158533" bIns="96022" rtlCol="0" anchor="t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2801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BentonSans Regular" panose="02000503000000020004" pitchFamily="2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" name="Rectangle 6"/>
          <p:cNvSpPr/>
          <p:nvPr/>
        </p:nvSpPr>
        <p:spPr bwMode="gray">
          <a:xfrm>
            <a:off x="468086" y="1428240"/>
            <a:ext cx="5360642" cy="4777748"/>
          </a:xfrm>
          <a:prstGeom prst="rect">
            <a:avLst/>
          </a:prstGeom>
          <a:noFill/>
          <a:ln w="9525" algn="ctr">
            <a:solidFill>
              <a:schemeClr val="bg2"/>
            </a:solidFill>
            <a:miter lim="800000"/>
            <a:headEnd/>
            <a:tailEnd/>
          </a:ln>
        </p:spPr>
        <p:txBody>
          <a:bodyPr lIns="158533" tIns="121948" rIns="158533" bIns="96022" rtlCol="0" anchor="t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2801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BentonSans Regular" panose="02000503000000020004" pitchFamily="2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Text Placeholder 3"/>
          <p:cNvSpPr txBox="1">
            <a:spLocks/>
          </p:cNvSpPr>
          <p:nvPr/>
        </p:nvSpPr>
        <p:spPr bwMode="gray">
          <a:xfrm>
            <a:off x="6687063" y="4391492"/>
            <a:ext cx="5067026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342900" indent="-3429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476"/>
              </a:spcBef>
              <a:spcAft>
                <a:spcPts val="0"/>
              </a:spcAft>
              <a:buClr>
                <a:srgbClr val="F0AB00"/>
              </a:buClr>
              <a:buSzPct val="100000"/>
              <a:buFontTx/>
              <a:buNone/>
              <a:tabLst/>
              <a:defRPr/>
            </a:pPr>
            <a:r>
              <a:rPr kumimoji="0" lang="en-US" altLang="ja-JP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ＭＳ Ｐゴシック" charset="0"/>
              </a:rPr>
              <a:t>One entry point for the user and UX following common design directions</a:t>
            </a:r>
          </a:p>
        </p:txBody>
      </p:sp>
      <p:sp>
        <p:nvSpPr>
          <p:cNvPr id="9" name="Text Placeholder 3_"/>
          <p:cNvSpPr txBox="1">
            <a:spLocks/>
          </p:cNvSpPr>
          <p:nvPr/>
        </p:nvSpPr>
        <p:spPr bwMode="gray">
          <a:xfrm>
            <a:off x="574767" y="4391491"/>
            <a:ext cx="5153159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476"/>
              </a:spcBef>
              <a:spcAft>
                <a:spcPts val="0"/>
              </a:spcAft>
              <a:buClr>
                <a:srgbClr val="F0AB00"/>
              </a:buClr>
              <a:buSzPct val="100000"/>
              <a:buFontTx/>
              <a:buNone/>
              <a:tabLst/>
              <a:defRPr/>
            </a:pPr>
            <a:r>
              <a:rPr kumimoji="0" lang="en-US" altLang="ja-JP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ＭＳ Ｐゴシック" charset="0"/>
              </a:rPr>
              <a:t>Multiple entry points for the user and inconsistent user experience (e.g. ERP vs. CRM)</a:t>
            </a:r>
          </a:p>
        </p:txBody>
      </p:sp>
      <p:sp>
        <p:nvSpPr>
          <p:cNvPr id="10" name="Rectangle 9"/>
          <p:cNvSpPr/>
          <p:nvPr/>
        </p:nvSpPr>
        <p:spPr>
          <a:xfrm>
            <a:off x="513177" y="2157793"/>
            <a:ext cx="4856757" cy="971712"/>
          </a:xfrm>
          <a:prstGeom prst="rect">
            <a:avLst/>
          </a:prstGeom>
        </p:spPr>
        <p:txBody>
          <a:bodyPr lIns="0" tIns="54437" rIns="0" bIns="54437">
            <a:spAutoFit/>
          </a:bodyPr>
          <a:lstStyle/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476"/>
              </a:spcBef>
              <a:spcAft>
                <a:spcPts val="0"/>
              </a:spcAft>
              <a:buClr>
                <a:srgbClr val="F0AB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ＭＳ Ｐゴシック" charset="0"/>
                <a:cs typeface="ＭＳ Ｐゴシック" charset="0"/>
              </a:rPr>
              <a:t>One transaction for multiple roles e</a:t>
            </a:r>
            <a:r>
              <a:rPr kumimoji="0" lang="en-US" altLang="ja-JP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ＭＳ Ｐゴシック" charset="0"/>
                <a:cs typeface="ＭＳ Ｐゴシック" charset="0"/>
              </a:rPr>
              <a:t>xposing all data &amp; functions to all user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Text Placeholder 3__"/>
          <p:cNvSpPr txBox="1">
            <a:spLocks/>
          </p:cNvSpPr>
          <p:nvPr/>
        </p:nvSpPr>
        <p:spPr bwMode="gray">
          <a:xfrm>
            <a:off x="6625478" y="2157796"/>
            <a:ext cx="4692466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342900" indent="-3429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476"/>
              </a:spcBef>
              <a:spcAft>
                <a:spcPts val="0"/>
              </a:spcAft>
              <a:buClr>
                <a:srgbClr val="F0AB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ＭＳ Ｐゴシック" charset="0"/>
              </a:rPr>
              <a:t>Decomposed apps for each role exposing only relevant data &amp; functions</a:t>
            </a:r>
          </a:p>
        </p:txBody>
      </p:sp>
      <p:pic>
        <p:nvPicPr>
          <p:cNvPr id="12" name="Picture 9" descr="C:\Users\D041702\AppData\Local\Temp\SNAGHTML558ea3a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22018" y="2917194"/>
            <a:ext cx="2170085" cy="989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4_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130045" y="2838111"/>
            <a:ext cx="1071387" cy="3425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53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136394" y="3633547"/>
            <a:ext cx="1065036" cy="3444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3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130045" y="3232843"/>
            <a:ext cx="1071387" cy="3455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6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46542" y="5551765"/>
            <a:ext cx="1131230" cy="4489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9_" descr="C:\Users\D041702\AppData\Local\Temp\SNAGHTML558ea3a.PNG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31726" y="5033049"/>
            <a:ext cx="1164023" cy="4821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3_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067562" y="5028856"/>
            <a:ext cx="1255475" cy="4049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2" descr="C:\Users\d047270\AppData\Local\Temp\Rar$DR03.770\Budget_vs_Cost\01_Budget_vs_Cost_by_Region.png"/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061216" y="5492118"/>
            <a:ext cx="1249122" cy="4049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0" name="Elbow Connector 19"/>
          <p:cNvCxnSpPr>
            <a:endCxn id="18" idx="1"/>
          </p:cNvCxnSpPr>
          <p:nvPr/>
        </p:nvCxnSpPr>
        <p:spPr>
          <a:xfrm flipV="1">
            <a:off x="8903129" y="5231310"/>
            <a:ext cx="1164436" cy="190544"/>
          </a:xfrm>
          <a:prstGeom prst="bentConnector3">
            <a:avLst>
              <a:gd name="adj1" fmla="val 70689"/>
            </a:avLst>
          </a:prstGeom>
          <a:ln w="15875">
            <a:solidFill>
              <a:schemeClr val="accent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Elbow Connector 20"/>
          <p:cNvCxnSpPr>
            <a:endCxn id="19" idx="1"/>
          </p:cNvCxnSpPr>
          <p:nvPr/>
        </p:nvCxnSpPr>
        <p:spPr>
          <a:xfrm>
            <a:off x="8471230" y="5492118"/>
            <a:ext cx="1589985" cy="202454"/>
          </a:xfrm>
          <a:prstGeom prst="bentConnector3">
            <a:avLst>
              <a:gd name="adj1" fmla="val 80294"/>
            </a:avLst>
          </a:prstGeom>
          <a:ln w="15875">
            <a:solidFill>
              <a:schemeClr val="accent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Chevron 21"/>
          <p:cNvSpPr/>
          <p:nvPr/>
        </p:nvSpPr>
        <p:spPr bwMode="gray">
          <a:xfrm>
            <a:off x="5969290" y="2769411"/>
            <a:ext cx="353643" cy="1208634"/>
          </a:xfrm>
          <a:prstGeom prst="chevron">
            <a:avLst>
              <a:gd name="adj" fmla="val 73619"/>
            </a:avLst>
          </a:prstGeom>
          <a:solidFill>
            <a:schemeClr val="accent2">
              <a:alpha val="97000"/>
            </a:schemeClr>
          </a:solidFill>
          <a:ln>
            <a:noFill/>
          </a:ln>
        </p:spPr>
        <p:txBody>
          <a:bodyPr wrap="square" rtlCol="0" anchor="ctr" anchorCtr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Arial"/>
            </a:endParaRPr>
          </a:p>
        </p:txBody>
      </p:sp>
      <p:sp>
        <p:nvSpPr>
          <p:cNvPr id="23" name="Chevron 22"/>
          <p:cNvSpPr/>
          <p:nvPr/>
        </p:nvSpPr>
        <p:spPr bwMode="gray">
          <a:xfrm>
            <a:off x="5969290" y="4517059"/>
            <a:ext cx="353643" cy="1208634"/>
          </a:xfrm>
          <a:prstGeom prst="chevron">
            <a:avLst>
              <a:gd name="adj" fmla="val 72438"/>
            </a:avLst>
          </a:prstGeom>
          <a:solidFill>
            <a:schemeClr val="accent2">
              <a:alpha val="97000"/>
            </a:schemeClr>
          </a:solidFill>
          <a:ln>
            <a:noFill/>
          </a:ln>
        </p:spPr>
        <p:txBody>
          <a:bodyPr wrap="square" rtlCol="0" anchor="ctr" anchorCtr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Arial"/>
            </a:endParaRPr>
          </a:p>
        </p:txBody>
      </p:sp>
      <p:grpSp>
        <p:nvGrpSpPr>
          <p:cNvPr id="24" name="Group 23"/>
          <p:cNvGrpSpPr/>
          <p:nvPr/>
        </p:nvGrpSpPr>
        <p:grpSpPr>
          <a:xfrm>
            <a:off x="1524917" y="2877102"/>
            <a:ext cx="427242" cy="320431"/>
            <a:chOff x="6409484" y="3965139"/>
            <a:chExt cx="617799" cy="617799"/>
          </a:xfrm>
          <a:effectLst/>
        </p:grpSpPr>
        <p:sp>
          <p:nvSpPr>
            <p:cNvPr id="25" name="Oval 24"/>
            <p:cNvSpPr/>
            <p:nvPr/>
          </p:nvSpPr>
          <p:spPr bwMode="gray">
            <a:xfrm>
              <a:off x="6409484" y="3965139"/>
              <a:ext cx="617799" cy="617799"/>
            </a:xfrm>
            <a:prstGeom prst="ellipse">
              <a:avLst/>
            </a:prstGeom>
            <a:solidFill>
              <a:schemeClr val="bg2">
                <a:lumMod val="75000"/>
              </a:schemeClr>
            </a:solidFill>
            <a:ln w="6350" algn="ctr">
              <a:noFill/>
              <a:miter lim="800000"/>
              <a:headEnd/>
              <a:tailEnd/>
            </a:ln>
            <a:effectLst/>
          </p:spPr>
          <p:txBody>
            <a:bodyPr lIns="120028" tIns="96022" rIns="120028" bIns="96022"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endParaRPr kumimoji="0" lang="en-US" sz="2667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/>
                <a:ea typeface="Arial Unicode MS" pitchFamily="34" charset="-128"/>
                <a:cs typeface="Arial Unicode MS" pitchFamily="34" charset="-128"/>
              </a:endParaRPr>
            </a:p>
          </p:txBody>
        </p:sp>
        <p:pic>
          <p:nvPicPr>
            <p:cNvPr id="26" name="Picture 16" descr="\\psf\Host\Users\eric\Graphic Tank\People v2-11.png"/>
            <p:cNvPicPr>
              <a:picLocks noChangeAspect="1" noChangeArrowheads="1"/>
            </p:cNvPicPr>
            <p:nvPr/>
          </p:nvPicPr>
          <p:blipFill>
            <a:blip r:embed="rId11" cstate="email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88772" y="4067966"/>
              <a:ext cx="277433" cy="389139"/>
            </a:xfrm>
            <a:prstGeom prst="rect">
              <a:avLst/>
            </a:prstGeom>
            <a:noFill/>
          </p:spPr>
        </p:pic>
      </p:grpSp>
      <p:grpSp>
        <p:nvGrpSpPr>
          <p:cNvPr id="27" name="Group 26"/>
          <p:cNvGrpSpPr/>
          <p:nvPr/>
        </p:nvGrpSpPr>
        <p:grpSpPr>
          <a:xfrm>
            <a:off x="1524917" y="3236794"/>
            <a:ext cx="427242" cy="320431"/>
            <a:chOff x="6409484" y="3965139"/>
            <a:chExt cx="617799" cy="617799"/>
          </a:xfrm>
          <a:effectLst/>
        </p:grpSpPr>
        <p:sp>
          <p:nvSpPr>
            <p:cNvPr id="28" name="Oval 27"/>
            <p:cNvSpPr/>
            <p:nvPr/>
          </p:nvSpPr>
          <p:spPr bwMode="gray">
            <a:xfrm>
              <a:off x="6409484" y="3965139"/>
              <a:ext cx="617799" cy="617799"/>
            </a:xfrm>
            <a:prstGeom prst="ellipse">
              <a:avLst/>
            </a:prstGeom>
            <a:solidFill>
              <a:schemeClr val="bg2">
                <a:lumMod val="75000"/>
              </a:schemeClr>
            </a:solidFill>
            <a:ln w="6350" algn="ctr">
              <a:noFill/>
              <a:miter lim="800000"/>
              <a:headEnd/>
              <a:tailEnd/>
            </a:ln>
            <a:effectLst/>
          </p:spPr>
          <p:txBody>
            <a:bodyPr lIns="120028" tIns="96022" rIns="120028" bIns="96022"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endParaRPr kumimoji="0" lang="en-US" sz="2667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/>
                <a:ea typeface="Arial Unicode MS" pitchFamily="34" charset="-128"/>
                <a:cs typeface="Arial Unicode MS" pitchFamily="34" charset="-128"/>
              </a:endParaRPr>
            </a:p>
          </p:txBody>
        </p:sp>
        <p:pic>
          <p:nvPicPr>
            <p:cNvPr id="29" name="Picture 16" descr="\\psf\Host\Users\eric\Graphic Tank\People v2-11.png"/>
            <p:cNvPicPr>
              <a:picLocks noChangeAspect="1" noChangeArrowheads="1"/>
            </p:cNvPicPr>
            <p:nvPr/>
          </p:nvPicPr>
          <p:blipFill>
            <a:blip r:embed="rId11" cstate="email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88772" y="4067966"/>
              <a:ext cx="277433" cy="389139"/>
            </a:xfrm>
            <a:prstGeom prst="rect">
              <a:avLst/>
            </a:prstGeom>
            <a:noFill/>
          </p:spPr>
        </p:pic>
      </p:grpSp>
      <p:grpSp>
        <p:nvGrpSpPr>
          <p:cNvPr id="30" name="Group 29"/>
          <p:cNvGrpSpPr/>
          <p:nvPr/>
        </p:nvGrpSpPr>
        <p:grpSpPr>
          <a:xfrm>
            <a:off x="1524917" y="3602446"/>
            <a:ext cx="427242" cy="320431"/>
            <a:chOff x="6409484" y="3965139"/>
            <a:chExt cx="617799" cy="617799"/>
          </a:xfrm>
          <a:effectLst/>
        </p:grpSpPr>
        <p:sp>
          <p:nvSpPr>
            <p:cNvPr id="31" name="Oval 30"/>
            <p:cNvSpPr/>
            <p:nvPr/>
          </p:nvSpPr>
          <p:spPr bwMode="gray">
            <a:xfrm flipH="1">
              <a:off x="6409484" y="3965139"/>
              <a:ext cx="617799" cy="617799"/>
            </a:xfrm>
            <a:prstGeom prst="ellipse">
              <a:avLst/>
            </a:prstGeom>
            <a:solidFill>
              <a:schemeClr val="bg2">
                <a:lumMod val="75000"/>
              </a:schemeClr>
            </a:solidFill>
            <a:ln w="6350" algn="ctr">
              <a:noFill/>
              <a:miter lim="800000"/>
              <a:headEnd/>
              <a:tailEnd/>
            </a:ln>
            <a:effectLst/>
          </p:spPr>
          <p:txBody>
            <a:bodyPr lIns="120028" tIns="96022" rIns="120028" bIns="96022"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endParaRPr kumimoji="0" lang="en-US" sz="2667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/>
                <a:ea typeface="Arial Unicode MS" pitchFamily="34" charset="-128"/>
                <a:cs typeface="Arial Unicode MS" pitchFamily="34" charset="-128"/>
              </a:endParaRPr>
            </a:p>
          </p:txBody>
        </p:sp>
        <p:pic>
          <p:nvPicPr>
            <p:cNvPr id="32" name="Picture 16" descr="\\psf\Host\Users\eric\Graphic Tank\People v2-11.png"/>
            <p:cNvPicPr>
              <a:picLocks noChangeAspect="1" noChangeArrowheads="1"/>
            </p:cNvPicPr>
            <p:nvPr/>
          </p:nvPicPr>
          <p:blipFill>
            <a:blip r:embed="rId11" cstate="email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88772" y="4067966"/>
              <a:ext cx="277433" cy="389139"/>
            </a:xfrm>
            <a:prstGeom prst="rect">
              <a:avLst/>
            </a:prstGeom>
            <a:noFill/>
          </p:spPr>
        </p:pic>
      </p:grpSp>
      <p:cxnSp>
        <p:nvCxnSpPr>
          <p:cNvPr id="33" name="Straight Arrow Connector 32"/>
          <p:cNvCxnSpPr/>
          <p:nvPr/>
        </p:nvCxnSpPr>
        <p:spPr>
          <a:xfrm>
            <a:off x="1979734" y="3053234"/>
            <a:ext cx="573203" cy="0"/>
          </a:xfrm>
          <a:prstGeom prst="straightConnector1">
            <a:avLst/>
          </a:prstGeom>
          <a:ln w="15875">
            <a:solidFill>
              <a:schemeClr val="accent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/>
          <p:nvPr/>
        </p:nvCxnSpPr>
        <p:spPr>
          <a:xfrm>
            <a:off x="1979734" y="3403835"/>
            <a:ext cx="573203" cy="0"/>
          </a:xfrm>
          <a:prstGeom prst="straightConnector1">
            <a:avLst/>
          </a:prstGeom>
          <a:ln w="15875">
            <a:solidFill>
              <a:schemeClr val="accent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1979734" y="3755585"/>
            <a:ext cx="573203" cy="0"/>
          </a:xfrm>
          <a:prstGeom prst="straightConnector1">
            <a:avLst/>
          </a:prstGeom>
          <a:ln w="15875">
            <a:solidFill>
              <a:schemeClr val="accent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6" name="Group 35"/>
          <p:cNvGrpSpPr/>
          <p:nvPr/>
        </p:nvGrpSpPr>
        <p:grpSpPr>
          <a:xfrm>
            <a:off x="1609221" y="5332683"/>
            <a:ext cx="427242" cy="320431"/>
            <a:chOff x="6409484" y="3965139"/>
            <a:chExt cx="617799" cy="617799"/>
          </a:xfrm>
        </p:grpSpPr>
        <p:sp>
          <p:nvSpPr>
            <p:cNvPr id="37" name="Oval 36"/>
            <p:cNvSpPr/>
            <p:nvPr/>
          </p:nvSpPr>
          <p:spPr bwMode="gray">
            <a:xfrm>
              <a:off x="6409484" y="3965139"/>
              <a:ext cx="617799" cy="617799"/>
            </a:xfrm>
            <a:prstGeom prst="ellipse">
              <a:avLst/>
            </a:prstGeom>
            <a:solidFill>
              <a:schemeClr val="bg2">
                <a:lumMod val="75000"/>
              </a:schemeClr>
            </a:solidFill>
            <a:ln w="6350" algn="ctr">
              <a:noFill/>
              <a:miter lim="800000"/>
              <a:headEnd/>
              <a:tailEnd/>
            </a:ln>
            <a:effectLst/>
          </p:spPr>
          <p:txBody>
            <a:bodyPr lIns="120028" tIns="96022" rIns="120028" bIns="96022"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endParaRPr kumimoji="0" lang="en-US" sz="2667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/>
                <a:ea typeface="Arial Unicode MS" pitchFamily="34" charset="-128"/>
                <a:cs typeface="Arial Unicode MS" pitchFamily="34" charset="-128"/>
              </a:endParaRPr>
            </a:p>
          </p:txBody>
        </p:sp>
        <p:pic>
          <p:nvPicPr>
            <p:cNvPr id="38" name="Picture 16" descr="\\psf\Host\Users\eric\Graphic Tank\People v2-11.png"/>
            <p:cNvPicPr>
              <a:picLocks noChangeAspect="1" noChangeArrowheads="1"/>
            </p:cNvPicPr>
            <p:nvPr/>
          </p:nvPicPr>
          <p:blipFill>
            <a:blip r:embed="rId11" cstate="email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88772" y="4067966"/>
              <a:ext cx="277433" cy="389139"/>
            </a:xfrm>
            <a:prstGeom prst="rect">
              <a:avLst/>
            </a:prstGeom>
            <a:noFill/>
          </p:spPr>
        </p:pic>
      </p:grpSp>
      <p:cxnSp>
        <p:nvCxnSpPr>
          <p:cNvPr id="39" name="Straight Arrow Connector 129"/>
          <p:cNvCxnSpPr/>
          <p:nvPr/>
        </p:nvCxnSpPr>
        <p:spPr>
          <a:xfrm flipV="1">
            <a:off x="2064033" y="5262613"/>
            <a:ext cx="573203" cy="138028"/>
          </a:xfrm>
          <a:prstGeom prst="bentConnector3">
            <a:avLst>
              <a:gd name="adj1" fmla="val 50000"/>
            </a:avLst>
          </a:prstGeom>
          <a:ln w="15875">
            <a:solidFill>
              <a:schemeClr val="accent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130"/>
          <p:cNvCxnSpPr/>
          <p:nvPr/>
        </p:nvCxnSpPr>
        <p:spPr>
          <a:xfrm>
            <a:off x="2064033" y="5591013"/>
            <a:ext cx="573203" cy="138028"/>
          </a:xfrm>
          <a:prstGeom prst="bentConnector3">
            <a:avLst>
              <a:gd name="adj1" fmla="val 50000"/>
            </a:avLst>
          </a:prstGeom>
          <a:ln w="15875">
            <a:solidFill>
              <a:schemeClr val="accent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1" name="Group 40"/>
          <p:cNvGrpSpPr/>
          <p:nvPr/>
        </p:nvGrpSpPr>
        <p:grpSpPr>
          <a:xfrm>
            <a:off x="7263252" y="5325077"/>
            <a:ext cx="427242" cy="320431"/>
            <a:chOff x="6409484" y="3965139"/>
            <a:chExt cx="617799" cy="617799"/>
          </a:xfrm>
        </p:grpSpPr>
        <p:sp>
          <p:nvSpPr>
            <p:cNvPr id="42" name="Oval 41"/>
            <p:cNvSpPr/>
            <p:nvPr/>
          </p:nvSpPr>
          <p:spPr bwMode="gray">
            <a:xfrm>
              <a:off x="6409484" y="3965139"/>
              <a:ext cx="617799" cy="617799"/>
            </a:xfrm>
            <a:prstGeom prst="ellipse">
              <a:avLst/>
            </a:prstGeom>
            <a:solidFill>
              <a:schemeClr val="accent3"/>
            </a:solidFill>
            <a:ln w="6350" algn="ctr">
              <a:noFill/>
              <a:miter lim="800000"/>
              <a:headEnd/>
              <a:tailEnd/>
            </a:ln>
            <a:effectLst/>
          </p:spPr>
          <p:txBody>
            <a:bodyPr lIns="120028" tIns="96022" rIns="120028" bIns="96022"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endParaRPr kumimoji="0" lang="en-US" sz="2667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/>
                <a:ea typeface="Arial Unicode MS" pitchFamily="34" charset="-128"/>
                <a:cs typeface="Arial Unicode MS" pitchFamily="34" charset="-128"/>
              </a:endParaRPr>
            </a:p>
          </p:txBody>
        </p:sp>
        <p:pic>
          <p:nvPicPr>
            <p:cNvPr id="43" name="Picture 16" descr="\\psf\Host\Users\eric\Graphic Tank\People v2-11.png"/>
            <p:cNvPicPr>
              <a:picLocks noChangeAspect="1" noChangeArrowheads="1"/>
            </p:cNvPicPr>
            <p:nvPr/>
          </p:nvPicPr>
          <p:blipFill>
            <a:blip r:embed="rId11" cstate="email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88772" y="4067966"/>
              <a:ext cx="277433" cy="389139"/>
            </a:xfrm>
            <a:prstGeom prst="rect">
              <a:avLst/>
            </a:prstGeom>
            <a:noFill/>
          </p:spPr>
        </p:pic>
      </p:grpSp>
      <p:cxnSp>
        <p:nvCxnSpPr>
          <p:cNvPr id="44" name="Straight Arrow Connector 43"/>
          <p:cNvCxnSpPr/>
          <p:nvPr/>
        </p:nvCxnSpPr>
        <p:spPr>
          <a:xfrm>
            <a:off x="7718068" y="5492117"/>
            <a:ext cx="573203" cy="0"/>
          </a:xfrm>
          <a:prstGeom prst="straightConnector1">
            <a:avLst/>
          </a:prstGeom>
          <a:ln w="15875">
            <a:solidFill>
              <a:schemeClr val="accent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5" name="Picture 3__"/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91271" y="5272991"/>
            <a:ext cx="1223717" cy="4049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6" name="Group 45"/>
          <p:cNvGrpSpPr/>
          <p:nvPr/>
        </p:nvGrpSpPr>
        <p:grpSpPr>
          <a:xfrm>
            <a:off x="8077407" y="2877102"/>
            <a:ext cx="427242" cy="320431"/>
            <a:chOff x="6409484" y="3965139"/>
            <a:chExt cx="617799" cy="617799"/>
          </a:xfrm>
        </p:grpSpPr>
        <p:sp>
          <p:nvSpPr>
            <p:cNvPr id="47" name="Oval 46"/>
            <p:cNvSpPr/>
            <p:nvPr/>
          </p:nvSpPr>
          <p:spPr bwMode="gray">
            <a:xfrm>
              <a:off x="6409484" y="3965139"/>
              <a:ext cx="617799" cy="617799"/>
            </a:xfrm>
            <a:prstGeom prst="ellipse">
              <a:avLst/>
            </a:prstGeom>
            <a:solidFill>
              <a:srgbClr val="0FABFF"/>
            </a:solidFill>
            <a:ln w="6350" algn="ctr">
              <a:noFill/>
              <a:miter lim="800000"/>
              <a:headEnd/>
              <a:tailEnd/>
            </a:ln>
            <a:effectLst/>
          </p:spPr>
          <p:txBody>
            <a:bodyPr lIns="120028" tIns="96022" rIns="120028" bIns="96022"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endParaRPr kumimoji="0" lang="en-US" sz="2667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/>
                <a:ea typeface="Arial Unicode MS" pitchFamily="34" charset="-128"/>
                <a:cs typeface="Arial Unicode MS" pitchFamily="34" charset="-128"/>
              </a:endParaRPr>
            </a:p>
          </p:txBody>
        </p:sp>
        <p:pic>
          <p:nvPicPr>
            <p:cNvPr id="48" name="Picture 16" descr="\\psf\Host\Users\eric\Graphic Tank\People v2-11.png"/>
            <p:cNvPicPr>
              <a:picLocks noChangeAspect="1" noChangeArrowheads="1"/>
            </p:cNvPicPr>
            <p:nvPr/>
          </p:nvPicPr>
          <p:blipFill>
            <a:blip r:embed="rId11" cstate="email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88772" y="4067966"/>
              <a:ext cx="277433" cy="389139"/>
            </a:xfrm>
            <a:prstGeom prst="rect">
              <a:avLst/>
            </a:prstGeom>
            <a:noFill/>
          </p:spPr>
        </p:pic>
      </p:grpSp>
      <p:grpSp>
        <p:nvGrpSpPr>
          <p:cNvPr id="49" name="Group 48"/>
          <p:cNvGrpSpPr/>
          <p:nvPr/>
        </p:nvGrpSpPr>
        <p:grpSpPr>
          <a:xfrm>
            <a:off x="8077407" y="3236794"/>
            <a:ext cx="427242" cy="320431"/>
            <a:chOff x="6409484" y="3965139"/>
            <a:chExt cx="617799" cy="617799"/>
          </a:xfrm>
        </p:grpSpPr>
        <p:sp>
          <p:nvSpPr>
            <p:cNvPr id="50" name="Oval 49"/>
            <p:cNvSpPr/>
            <p:nvPr/>
          </p:nvSpPr>
          <p:spPr bwMode="gray">
            <a:xfrm>
              <a:off x="6409484" y="3965139"/>
              <a:ext cx="617799" cy="617799"/>
            </a:xfrm>
            <a:prstGeom prst="ellipse">
              <a:avLst/>
            </a:prstGeom>
            <a:solidFill>
              <a:schemeClr val="accent3"/>
            </a:solidFill>
            <a:ln w="6350" algn="ctr">
              <a:noFill/>
              <a:miter lim="800000"/>
              <a:headEnd/>
              <a:tailEnd/>
            </a:ln>
            <a:effectLst/>
          </p:spPr>
          <p:txBody>
            <a:bodyPr lIns="120028" tIns="96022" rIns="120028" bIns="96022"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endParaRPr kumimoji="0" lang="en-US" sz="2667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/>
                <a:ea typeface="Arial Unicode MS" pitchFamily="34" charset="-128"/>
                <a:cs typeface="Arial Unicode MS" pitchFamily="34" charset="-128"/>
              </a:endParaRPr>
            </a:p>
          </p:txBody>
        </p:sp>
        <p:pic>
          <p:nvPicPr>
            <p:cNvPr id="51" name="Picture 16" descr="\\psf\Host\Users\eric\Graphic Tank\People v2-11.png"/>
            <p:cNvPicPr>
              <a:picLocks noChangeAspect="1" noChangeArrowheads="1"/>
            </p:cNvPicPr>
            <p:nvPr/>
          </p:nvPicPr>
          <p:blipFill>
            <a:blip r:embed="rId11" cstate="email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88772" y="4067966"/>
              <a:ext cx="277433" cy="389139"/>
            </a:xfrm>
            <a:prstGeom prst="rect">
              <a:avLst/>
            </a:prstGeom>
            <a:noFill/>
          </p:spPr>
        </p:pic>
      </p:grpSp>
      <p:grpSp>
        <p:nvGrpSpPr>
          <p:cNvPr id="52" name="Group 51"/>
          <p:cNvGrpSpPr/>
          <p:nvPr/>
        </p:nvGrpSpPr>
        <p:grpSpPr>
          <a:xfrm>
            <a:off x="8077407" y="3602446"/>
            <a:ext cx="427242" cy="320431"/>
            <a:chOff x="6409484" y="3965139"/>
            <a:chExt cx="617799" cy="617799"/>
          </a:xfrm>
        </p:grpSpPr>
        <p:sp>
          <p:nvSpPr>
            <p:cNvPr id="53" name="Oval 52"/>
            <p:cNvSpPr/>
            <p:nvPr/>
          </p:nvSpPr>
          <p:spPr bwMode="gray">
            <a:xfrm>
              <a:off x="6409484" y="3965139"/>
              <a:ext cx="617799" cy="617799"/>
            </a:xfrm>
            <a:prstGeom prst="ellipse">
              <a:avLst/>
            </a:prstGeom>
            <a:solidFill>
              <a:srgbClr val="00195A"/>
            </a:solidFill>
            <a:ln w="6350" algn="ctr">
              <a:noFill/>
              <a:miter lim="800000"/>
              <a:headEnd/>
              <a:tailEnd/>
            </a:ln>
            <a:effectLst/>
          </p:spPr>
          <p:txBody>
            <a:bodyPr lIns="120028" tIns="96022" rIns="120028" bIns="96022"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endParaRPr kumimoji="0" lang="en-US" sz="2667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/>
                <a:ea typeface="Arial Unicode MS" pitchFamily="34" charset="-128"/>
                <a:cs typeface="Arial Unicode MS" pitchFamily="34" charset="-128"/>
              </a:endParaRPr>
            </a:p>
          </p:txBody>
        </p:sp>
        <p:pic>
          <p:nvPicPr>
            <p:cNvPr id="54" name="Picture 16" descr="\\psf\Host\Users\eric\Graphic Tank\People v2-11.png"/>
            <p:cNvPicPr>
              <a:picLocks noChangeAspect="1" noChangeArrowheads="1"/>
            </p:cNvPicPr>
            <p:nvPr/>
          </p:nvPicPr>
          <p:blipFill>
            <a:blip r:embed="rId11" cstate="email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88772" y="4067966"/>
              <a:ext cx="277433" cy="389139"/>
            </a:xfrm>
            <a:prstGeom prst="rect">
              <a:avLst/>
            </a:prstGeom>
            <a:noFill/>
          </p:spPr>
        </p:pic>
      </p:grpSp>
      <p:cxnSp>
        <p:nvCxnSpPr>
          <p:cNvPr id="55" name="Straight Arrow Connector 54"/>
          <p:cNvCxnSpPr/>
          <p:nvPr/>
        </p:nvCxnSpPr>
        <p:spPr>
          <a:xfrm>
            <a:off x="8532223" y="3053234"/>
            <a:ext cx="573203" cy="0"/>
          </a:xfrm>
          <a:prstGeom prst="straightConnector1">
            <a:avLst/>
          </a:prstGeom>
          <a:ln w="15875">
            <a:solidFill>
              <a:schemeClr val="accent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Arrow Connector 55"/>
          <p:cNvCxnSpPr/>
          <p:nvPr/>
        </p:nvCxnSpPr>
        <p:spPr>
          <a:xfrm>
            <a:off x="8532223" y="3403835"/>
            <a:ext cx="573203" cy="0"/>
          </a:xfrm>
          <a:prstGeom prst="straightConnector1">
            <a:avLst/>
          </a:prstGeom>
          <a:ln w="15875">
            <a:solidFill>
              <a:schemeClr val="accent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Arrow Connector 56"/>
          <p:cNvCxnSpPr/>
          <p:nvPr/>
        </p:nvCxnSpPr>
        <p:spPr>
          <a:xfrm>
            <a:off x="8532223" y="3755585"/>
            <a:ext cx="573203" cy="0"/>
          </a:xfrm>
          <a:prstGeom prst="straightConnector1">
            <a:avLst/>
          </a:prstGeom>
          <a:ln w="15875">
            <a:solidFill>
              <a:schemeClr val="accent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/>
        </p:nvCxnSpPr>
        <p:spPr>
          <a:xfrm>
            <a:off x="6653832" y="4256892"/>
            <a:ext cx="4917401" cy="0"/>
          </a:xfrm>
          <a:prstGeom prst="line">
            <a:avLst/>
          </a:prstGeom>
          <a:ln w="19050">
            <a:solidFill>
              <a:schemeClr val="accent2">
                <a:alpha val="47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tangle 58"/>
          <p:cNvSpPr/>
          <p:nvPr/>
        </p:nvSpPr>
        <p:spPr bwMode="gray">
          <a:xfrm>
            <a:off x="6506313" y="1434848"/>
            <a:ext cx="5212440" cy="676163"/>
          </a:xfrm>
          <a:prstGeom prst="rect">
            <a:avLst/>
          </a:prstGeom>
          <a:solidFill>
            <a:schemeClr val="accent3"/>
          </a:solidFill>
          <a:ln w="6350" algn="ctr">
            <a:noFill/>
            <a:miter lim="800000"/>
            <a:headEnd/>
            <a:tailEnd/>
          </a:ln>
          <a:effectLst/>
        </p:spPr>
        <p:txBody>
          <a:bodyPr lIns="158533" tIns="121948" rIns="158533" bIns="96022" rtlCol="0" anchor="t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2801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 panose="020F050202020403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0" name="Rectangle 59"/>
          <p:cNvSpPr/>
          <p:nvPr/>
        </p:nvSpPr>
        <p:spPr bwMode="gray">
          <a:xfrm>
            <a:off x="468083" y="1428239"/>
            <a:ext cx="5360641" cy="676986"/>
          </a:xfrm>
          <a:prstGeom prst="rect">
            <a:avLst/>
          </a:prstGeom>
          <a:solidFill>
            <a:schemeClr val="bg2">
              <a:lumMod val="75000"/>
            </a:schemeClr>
          </a:solidFill>
          <a:ln w="6350" algn="ctr">
            <a:noFill/>
            <a:miter lim="800000"/>
            <a:headEnd/>
            <a:tailEnd/>
          </a:ln>
          <a:effectLst/>
        </p:spPr>
        <p:txBody>
          <a:bodyPr lIns="158533" tIns="121948" rIns="158533" bIns="96022" rtlCol="0" anchor="t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2801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 panose="020F050202020403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1070578" y="1602520"/>
            <a:ext cx="3930563" cy="328423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2134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Arial Unicode MS" pitchFamily="34" charset="-128"/>
                <a:cs typeface="Arial Unicode MS" pitchFamily="34" charset="-128"/>
              </a:rPr>
              <a:t>Functional-based applications</a:t>
            </a:r>
          </a:p>
        </p:txBody>
      </p:sp>
      <p:sp>
        <p:nvSpPr>
          <p:cNvPr id="62" name="TextBox 61"/>
          <p:cNvSpPr txBox="1"/>
          <p:nvPr/>
        </p:nvSpPr>
        <p:spPr>
          <a:xfrm>
            <a:off x="7996569" y="1485607"/>
            <a:ext cx="2289088" cy="574644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2134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Arial Unicode MS" pitchFamily="34" charset="-128"/>
                <a:cs typeface="Arial Unicode MS" pitchFamily="34" charset="-128"/>
              </a:rPr>
              <a:t>SAP </a:t>
            </a:r>
            <a:r>
              <a:rPr kumimoji="0" lang="en-US" sz="2134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Arial Unicode MS" pitchFamily="34" charset="-128"/>
                <a:cs typeface="Arial Unicode MS" pitchFamily="34" charset="-128"/>
              </a:rPr>
              <a:t>Fiori</a:t>
            </a:r>
            <a:r>
              <a:rPr kumimoji="0" lang="en-US" sz="2134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Arial Unicode MS" pitchFamily="34" charset="-128"/>
                <a:cs typeface="Arial Unicode MS" pitchFamily="34" charset="-128"/>
              </a:rPr>
              <a:t>  Design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Arial Unicode MS" pitchFamily="34" charset="-128"/>
                <a:cs typeface="Arial Unicode MS" pitchFamily="34" charset="-128"/>
              </a:rPr>
              <a:t/>
            </a:r>
            <a:b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Arial Unicode MS" pitchFamily="34" charset="-128"/>
                <a:cs typeface="Arial Unicode MS" pitchFamily="34" charset="-128"/>
              </a:rPr>
            </a:b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Arial Unicode MS" pitchFamily="34" charset="-128"/>
                <a:cs typeface="Arial Unicode MS" pitchFamily="34" charset="-128"/>
              </a:rPr>
              <a:t>Role-based applications</a:t>
            </a:r>
          </a:p>
        </p:txBody>
      </p:sp>
      <p:cxnSp>
        <p:nvCxnSpPr>
          <p:cNvPr id="63" name="Straight Connector 62"/>
          <p:cNvCxnSpPr/>
          <p:nvPr/>
        </p:nvCxnSpPr>
        <p:spPr>
          <a:xfrm>
            <a:off x="692645" y="4256892"/>
            <a:ext cx="4917401" cy="0"/>
          </a:xfrm>
          <a:prstGeom prst="line">
            <a:avLst/>
          </a:prstGeom>
          <a:ln w="19050">
            <a:solidFill>
              <a:schemeClr val="accent2">
                <a:alpha val="47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Foliennummernplatzhalter 3"/>
          <p:cNvSpPr txBox="1">
            <a:spLocks/>
          </p:cNvSpPr>
          <p:nvPr/>
        </p:nvSpPr>
        <p:spPr>
          <a:xfrm>
            <a:off x="296419" y="6255653"/>
            <a:ext cx="558987" cy="455906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33"/>
            <a:fld id="{4898AEC0-503E-4FA4-859C-D0F72D6E3F79}" type="slidenum">
              <a:rPr lang="de-DE" sz="1330" smtClean="0">
                <a:solidFill>
                  <a:schemeClr val="tx1">
                    <a:lumMod val="50000"/>
                    <a:lumOff val="50000"/>
                  </a:schemeClr>
                </a:solidFill>
                <a:latin typeface="Bosch Office Sans"/>
              </a:rPr>
              <a:pPr defTabSz="914333"/>
              <a:t>7</a:t>
            </a:fld>
            <a:endParaRPr lang="de-DE" sz="1330" dirty="0">
              <a:solidFill>
                <a:schemeClr val="tx1">
                  <a:lumMod val="50000"/>
                  <a:lumOff val="50000"/>
                </a:schemeClr>
              </a:solidFill>
              <a:latin typeface="Bosch Office Sans"/>
            </a:endParaRPr>
          </a:p>
        </p:txBody>
      </p:sp>
    </p:spTree>
    <p:extLst>
      <p:ext uri="{BB962C8B-B14F-4D97-AF65-F5344CB8AC3E}">
        <p14:creationId xmlns:p14="http://schemas.microsoft.com/office/powerpoint/2010/main" val="7487649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"/>
          <p:cNvSpPr>
            <a:spLocks noGrp="1"/>
          </p:cNvSpPr>
          <p:nvPr>
            <p:ph type="title"/>
          </p:nvPr>
        </p:nvSpPr>
        <p:spPr>
          <a:xfrm>
            <a:off x="324000" y="324075"/>
            <a:ext cx="11545200" cy="756175"/>
          </a:xfrm>
        </p:spPr>
        <p:txBody>
          <a:bodyPr/>
          <a:lstStyle/>
          <a:p>
            <a:r>
              <a:rPr lang="en-US" sz="2400" dirty="0">
                <a:cs typeface="Helvetica"/>
              </a:rPr>
              <a:t>Responsive Web Design</a:t>
            </a:r>
            <a:r>
              <a:rPr lang="en-US" dirty="0">
                <a:cs typeface="Helvetica"/>
              </a:rPr>
              <a:t/>
            </a:r>
            <a:br>
              <a:rPr lang="en-US" dirty="0">
                <a:cs typeface="Helvetica"/>
              </a:rPr>
            </a:br>
            <a:r>
              <a:rPr lang="en-US" sz="2000" b="0" dirty="0">
                <a:cs typeface="Helvetica"/>
              </a:rPr>
              <a:t>Seamless User Experience</a:t>
            </a:r>
            <a:endParaRPr lang="en-US" sz="2000" dirty="0">
              <a:cs typeface="Helvetica"/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9329" t="46702" r="1431" b="4400"/>
          <a:stretch/>
        </p:blipFill>
        <p:spPr bwMode="auto">
          <a:xfrm>
            <a:off x="6616702" y="4330700"/>
            <a:ext cx="1778000" cy="203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ext Placeholder 6"/>
          <p:cNvSpPr txBox="1">
            <a:spLocks/>
          </p:cNvSpPr>
          <p:nvPr/>
        </p:nvSpPr>
        <p:spPr bwMode="gray">
          <a:xfrm>
            <a:off x="7901718" y="2700940"/>
            <a:ext cx="3917309" cy="34999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1620"/>
              </a:spcBef>
              <a:buClr>
                <a:schemeClr val="accent1"/>
              </a:buClr>
              <a:buSzPct val="80000"/>
              <a:buFontTx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1"/>
              </a:buClr>
              <a:buSzPct val="80000"/>
              <a:buFont typeface="Wingdings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spcBef>
                <a:spcPts val="400"/>
              </a:spcBef>
              <a:buClr>
                <a:schemeClr val="accent1"/>
              </a:buClr>
              <a:buSzPct val="100000"/>
              <a:buFont typeface="Wingdings" pitchFamily="2" charset="2"/>
              <a:buChar char="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spcBef>
                <a:spcPts val="400"/>
              </a:spcBef>
              <a:buClr>
                <a:schemeClr val="accent2"/>
              </a:buClr>
              <a:buSzPct val="100000"/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180000" algn="l" defTabSz="914400" rtl="0" eaLnBrk="1" latinLnBrk="0" hangingPunct="1">
              <a:spcBef>
                <a:spcPts val="250"/>
              </a:spcBef>
              <a:buClr>
                <a:schemeClr val="accent2"/>
              </a:buClr>
              <a:buSzPct val="100000"/>
              <a:buFont typeface="Courier New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F0AB00"/>
              </a:buClr>
              <a:buSzPct val="80000"/>
              <a:buFont typeface="Wingdings" pitchFamily="2" charset="2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Helvetica"/>
              </a:rPr>
              <a:t>Benefit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Helvetica"/>
              </a:rPr>
              <a:t> </a:t>
            </a:r>
          </a:p>
          <a:p>
            <a:pPr marL="381040" marR="0" lvl="1" indent="-38104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F0AB00"/>
              </a:buClr>
              <a:buSzPct val="80000"/>
              <a:buFont typeface="Wingdings" pitchFamily="2" charset="2"/>
              <a:buChar char="Ø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Helvetica"/>
              </a:rPr>
              <a:t>Apps adapt and adjust automatically to the respective screen size based on the users device</a:t>
            </a:r>
          </a:p>
          <a:p>
            <a:pPr marL="381040" marR="0" lvl="1" indent="-38104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F0AB00"/>
              </a:buClr>
              <a:buSzPct val="80000"/>
              <a:buFont typeface="Wingdings" pitchFamily="2" charset="2"/>
              <a:buChar char="Ø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Helvetica"/>
              </a:rPr>
              <a:t>Easy navigation and reading with a minimum of resizing, panning, and scrolling</a:t>
            </a:r>
          </a:p>
          <a:p>
            <a:pPr marL="381040" marR="0" lvl="1" indent="-38104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F0AB00"/>
              </a:buClr>
              <a:buSzPct val="80000"/>
              <a:buFont typeface="Wingdings" pitchFamily="2" charset="2"/>
              <a:buChar char="Ø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Helvetica"/>
              </a:rPr>
              <a:t>Consistent experience across all device types </a:t>
            </a: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F0AB00"/>
              </a:buClr>
              <a:buSzPct val="80000"/>
              <a:buFont typeface="Wingdings" pitchFamily="2" charset="2"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/>
              <a:ea typeface="+mn-ea"/>
              <a:cs typeface="Helvetica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439502" y="1413820"/>
            <a:ext cx="11379520" cy="70805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91452" tIns="45726" rIns="91452" bIns="45726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Helvetica"/>
              </a:rPr>
              <a:t>Responsive design detects the user’s screen size and orientation to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Helvetica"/>
              </a:rPr>
              <a:t>change the layout accordingly to provide a consistent experience across devices</a:t>
            </a:r>
          </a:p>
        </p:txBody>
      </p:sp>
      <p:pic>
        <p:nvPicPr>
          <p:cNvPr id="8" name="Picture 2_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903" r="48569"/>
          <a:stretch/>
        </p:blipFill>
        <p:spPr bwMode="auto">
          <a:xfrm>
            <a:off x="301937" y="2171700"/>
            <a:ext cx="4752665" cy="37440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2__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5828" t="33010" r="24656"/>
          <a:stretch/>
        </p:blipFill>
        <p:spPr bwMode="auto">
          <a:xfrm>
            <a:off x="5054601" y="2222500"/>
            <a:ext cx="1803400" cy="27838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3" descr="\\psf\Home\Graphic Tank\Electronics v1-44.png"/>
          <p:cNvPicPr>
            <a:picLocks noChangeAspect="1" noChangeArrowheads="1"/>
          </p:cNvPicPr>
          <p:nvPr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97267" y="2633854"/>
            <a:ext cx="921721" cy="5734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3_" descr="\\psf\Home\Graphic Tank\Electronics v1-44.png"/>
          <p:cNvPicPr>
            <a:picLocks noChangeAspect="1" noChangeArrowheads="1"/>
          </p:cNvPicPr>
          <p:nvPr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253157" y="360144"/>
            <a:ext cx="921721" cy="5734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3__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68688" y="204990"/>
            <a:ext cx="1005841" cy="9822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Foliennummernplatzhalter 3"/>
          <p:cNvSpPr txBox="1">
            <a:spLocks/>
          </p:cNvSpPr>
          <p:nvPr/>
        </p:nvSpPr>
        <p:spPr>
          <a:xfrm>
            <a:off x="296419" y="6255653"/>
            <a:ext cx="558987" cy="455906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33"/>
            <a:fld id="{4898AEC0-503E-4FA4-859C-D0F72D6E3F79}" type="slidenum">
              <a:rPr lang="de-DE" sz="1330" smtClean="0">
                <a:solidFill>
                  <a:schemeClr val="tx1">
                    <a:lumMod val="50000"/>
                    <a:lumOff val="50000"/>
                  </a:schemeClr>
                </a:solidFill>
                <a:latin typeface="Bosch Office Sans"/>
              </a:rPr>
              <a:pPr defTabSz="914333"/>
              <a:t>8</a:t>
            </a:fld>
            <a:endParaRPr lang="de-DE" sz="1330" dirty="0">
              <a:solidFill>
                <a:schemeClr val="tx1">
                  <a:lumMod val="50000"/>
                  <a:lumOff val="50000"/>
                </a:schemeClr>
              </a:solidFill>
              <a:latin typeface="Bosch Office Sans"/>
            </a:endParaRPr>
          </a:p>
        </p:txBody>
      </p:sp>
    </p:spTree>
    <p:extLst>
      <p:ext uri="{BB962C8B-B14F-4D97-AF65-F5344CB8AC3E}">
        <p14:creationId xmlns:p14="http://schemas.microsoft.com/office/powerpoint/2010/main" val="20453998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324000" y="324075"/>
            <a:ext cx="11545200" cy="756175"/>
          </a:xfrm>
        </p:spPr>
        <p:txBody>
          <a:bodyPr vert="horz" lIns="0" tIns="0" rIns="0" bIns="0" rtlCol="0" anchor="ctr" anchorCtr="0">
            <a:normAutofit/>
          </a:bodyPr>
          <a:lstStyle/>
          <a:p>
            <a:pPr lvl="2" algn="l" defTabSz="913749" rtl="0">
              <a:spcBef>
                <a:spcPct val="0"/>
              </a:spcBef>
            </a:pPr>
            <a:r>
              <a:rPr lang="en-US" sz="2400" b="1" kern="1200" dirty="0">
                <a:solidFill>
                  <a:schemeClr val="accent2"/>
                </a:solidFill>
                <a:latin typeface="+mj-lt"/>
                <a:ea typeface="+mj-ea"/>
                <a:cs typeface="Helvetica"/>
              </a:rPr>
              <a:t>Fiori helps increase productivity: </a:t>
            </a:r>
            <a:br>
              <a:rPr lang="en-US" sz="2400" b="1" kern="1200" dirty="0">
                <a:solidFill>
                  <a:schemeClr val="accent2"/>
                </a:solidFill>
                <a:latin typeface="+mj-lt"/>
                <a:ea typeface="+mj-ea"/>
                <a:cs typeface="Helvetica"/>
              </a:rPr>
            </a:br>
            <a:r>
              <a:rPr lang="en-US" sz="2000" kern="1200" dirty="0">
                <a:solidFill>
                  <a:schemeClr val="accent2"/>
                </a:solidFill>
                <a:latin typeface="+mj-lt"/>
                <a:ea typeface="+mj-ea"/>
                <a:cs typeface="Helvetica"/>
              </a:rPr>
              <a:t>Adequate Context Information to make the Right Decision</a:t>
            </a:r>
            <a:endParaRPr lang="en-US" kern="1200" dirty="0">
              <a:solidFill>
                <a:schemeClr val="accent2"/>
              </a:solidFill>
              <a:latin typeface="+mj-lt"/>
              <a:ea typeface="+mj-ea"/>
              <a:cs typeface="Helvetica"/>
            </a:endParaRPr>
          </a:p>
        </p:txBody>
      </p:sp>
      <p:cxnSp>
        <p:nvCxnSpPr>
          <p:cNvPr id="5" name="Straight Connector 4"/>
          <p:cNvCxnSpPr/>
          <p:nvPr/>
        </p:nvCxnSpPr>
        <p:spPr>
          <a:xfrm flipH="1">
            <a:off x="3207174" y="5414816"/>
            <a:ext cx="2351928" cy="427611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 flipH="1">
            <a:off x="3207174" y="4428937"/>
            <a:ext cx="632753" cy="1413491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4" descr="C:\Users\I834579\Desktop\L2_PPT_IMAGES\analytics_3.PN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9878" y="1733838"/>
            <a:ext cx="3796138" cy="279901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522549" y="2643018"/>
            <a:ext cx="3930142" cy="290829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2973197" y="3755035"/>
            <a:ext cx="3935321" cy="290829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6"/>
          <p:cNvSpPr txBox="1">
            <a:spLocks/>
          </p:cNvSpPr>
          <p:nvPr/>
        </p:nvSpPr>
        <p:spPr bwMode="gray">
          <a:xfrm>
            <a:off x="8109473" y="1349109"/>
            <a:ext cx="3696981" cy="439204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1620"/>
              </a:spcBef>
              <a:buClr>
                <a:schemeClr val="accent1"/>
              </a:buClr>
              <a:buSzPct val="80000"/>
              <a:buFontTx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1"/>
              </a:buClr>
              <a:buSzPct val="80000"/>
              <a:buFont typeface="Wingdings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spcBef>
                <a:spcPts val="400"/>
              </a:spcBef>
              <a:buClr>
                <a:schemeClr val="accent1"/>
              </a:buClr>
              <a:buSzPct val="100000"/>
              <a:buFont typeface="Wingdings" pitchFamily="2" charset="2"/>
              <a:buChar char="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spcBef>
                <a:spcPts val="400"/>
              </a:spcBef>
              <a:buClr>
                <a:schemeClr val="accent2"/>
              </a:buClr>
              <a:buSzPct val="100000"/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180000" algn="l" defTabSz="914400" rtl="0" eaLnBrk="1" latinLnBrk="0" hangingPunct="1">
              <a:spcBef>
                <a:spcPts val="250"/>
              </a:spcBef>
              <a:buClr>
                <a:schemeClr val="accent2"/>
              </a:buClr>
              <a:buSzPct val="100000"/>
              <a:buFont typeface="Courier New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1620"/>
              </a:spcBef>
              <a:spcAft>
                <a:spcPts val="600"/>
              </a:spcAft>
              <a:buClr>
                <a:srgbClr val="F0AB00"/>
              </a:buClr>
              <a:buSzPct val="80000"/>
              <a:buFont typeface="Wingdings" pitchFamily="2" charset="2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Helvetica"/>
              </a:rPr>
              <a:t>Capabilities:</a:t>
            </a:r>
          </a:p>
          <a:p>
            <a:pPr marL="381040" marR="0" lvl="1" indent="-38104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F0AB00"/>
              </a:buClr>
              <a:buSzPct val="80000"/>
              <a:buFont typeface="Wingdings" pitchFamily="2" charset="2"/>
              <a:buChar char="Ø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Helvetica"/>
              </a:rPr>
              <a:t>Adequate context information to make the right decision</a:t>
            </a:r>
          </a:p>
          <a:p>
            <a:pPr marL="381040" marR="0" lvl="1" indent="-38104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F0AB00"/>
              </a:buClr>
              <a:buSzPct val="80000"/>
              <a:buFont typeface="Wingdings" pitchFamily="2" charset="2"/>
              <a:buChar char="Ø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Helvetica"/>
              </a:rPr>
              <a:t>Based on user research, SAP has determined which/ how much information is required to make decision </a:t>
            </a:r>
          </a:p>
          <a:p>
            <a:pPr marL="381040" marR="0" lvl="1" indent="-38104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F0AB00"/>
              </a:buClr>
              <a:buSzPct val="80000"/>
              <a:buFont typeface="Wingdings" pitchFamily="2" charset="2"/>
              <a:buChar char="Ø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Helvetica"/>
              </a:rPr>
              <a:t>Drill down capabilities, analysis down to a detailed level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620"/>
              </a:spcBef>
              <a:spcAft>
                <a:spcPts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Helvetica"/>
              </a:rPr>
              <a:t>Benefits:</a:t>
            </a:r>
          </a:p>
          <a:p>
            <a:pPr marL="381040" marR="0" lvl="1" indent="-38104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F0AB00"/>
              </a:buClr>
              <a:buSzPct val="80000"/>
              <a:buFont typeface="Wingdings" pitchFamily="2" charset="2"/>
              <a:buChar char="Ø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Helvetica"/>
              </a:rPr>
              <a:t>Enables user to take make decisions (approve/decline) without additional iterations or research</a:t>
            </a:r>
          </a:p>
          <a:p>
            <a:pPr marL="381040" marR="0" lvl="1" indent="-38104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F0AB00"/>
              </a:buClr>
              <a:buSzPct val="80000"/>
              <a:buFont typeface="Wingdings" pitchFamily="2" charset="2"/>
              <a:buChar char="Ø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Helvetica"/>
              </a:rPr>
              <a:t>Enables user to take corrective measures in tim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620"/>
              </a:spcBef>
              <a:spcAft>
                <a:spcPts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/>
              <a:ea typeface="+mn-ea"/>
              <a:cs typeface="Helvetica"/>
            </a:endParaRPr>
          </a:p>
        </p:txBody>
      </p:sp>
      <p:pic>
        <p:nvPicPr>
          <p:cNvPr id="11" name="Picture 2_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64605" y="190254"/>
            <a:ext cx="1014364" cy="10179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Foliennummernplatzhalter 3"/>
          <p:cNvSpPr txBox="1">
            <a:spLocks/>
          </p:cNvSpPr>
          <p:nvPr/>
        </p:nvSpPr>
        <p:spPr>
          <a:xfrm>
            <a:off x="296419" y="6255653"/>
            <a:ext cx="558987" cy="455906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33"/>
            <a:fld id="{4898AEC0-503E-4FA4-859C-D0F72D6E3F79}" type="slidenum">
              <a:rPr lang="de-DE" sz="1330" smtClean="0">
                <a:solidFill>
                  <a:schemeClr val="tx1">
                    <a:lumMod val="50000"/>
                    <a:lumOff val="50000"/>
                  </a:schemeClr>
                </a:solidFill>
                <a:latin typeface="Bosch Office Sans"/>
              </a:rPr>
              <a:pPr defTabSz="914333"/>
              <a:t>9</a:t>
            </a:fld>
            <a:endParaRPr lang="de-DE" sz="1330" dirty="0">
              <a:solidFill>
                <a:schemeClr val="tx1">
                  <a:lumMod val="50000"/>
                  <a:lumOff val="50000"/>
                </a:schemeClr>
              </a:solidFill>
              <a:latin typeface="Bosch Office Sans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184499" y="1037712"/>
            <a:ext cx="6936737" cy="5062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ase">
              <a:lnSpc>
                <a:spcPct val="150000"/>
              </a:lnSpc>
              <a:spcBef>
                <a:spcPts val="6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r>
              <a:rPr lang="en-US" sz="2000" kern="0" dirty="0">
                <a:solidFill>
                  <a:prstClr val="black"/>
                </a:solidFill>
                <a:ea typeface="Arial Unicode MS" pitchFamily="34" charset="-128"/>
                <a:cs typeface="Arial Unicode MS" pitchFamily="34" charset="-128"/>
              </a:rPr>
              <a:t> 1-1-3 </a:t>
            </a:r>
            <a:r>
              <a:rPr lang="en-US" sz="2000" kern="0" dirty="0" smtClean="0">
                <a:solidFill>
                  <a:prstClr val="black"/>
                </a:solidFill>
                <a:ea typeface="Arial Unicode MS" pitchFamily="34" charset="-128"/>
                <a:cs typeface="Arial Unicode MS" pitchFamily="34" charset="-128"/>
              </a:rPr>
              <a:t>scenario-- </a:t>
            </a:r>
            <a:r>
              <a:rPr lang="en-US" sz="2000" kern="0" dirty="0">
                <a:solidFill>
                  <a:prstClr val="black"/>
                </a:solidFill>
                <a:ea typeface="Arial Unicode MS" pitchFamily="34" charset="-128"/>
                <a:cs typeface="Arial Unicode MS" pitchFamily="34" charset="-128"/>
              </a:rPr>
              <a:t>This means 1 user, 1 use case and 3 screens.</a:t>
            </a:r>
          </a:p>
        </p:txBody>
      </p:sp>
    </p:spTree>
    <p:extLst>
      <p:ext uri="{BB962C8B-B14F-4D97-AF65-F5344CB8AC3E}">
        <p14:creationId xmlns:p14="http://schemas.microsoft.com/office/powerpoint/2010/main" val="33085561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SHAPESETGROUPCLASSNAME" val="ShapeSetGroup1"/>
  <p:tag name="SHAPESETCLASSNAME" val="Slide"/>
  <p:tag name="COLORSETGROUPCLASSNAME" val="ColorSetGroup1"/>
  <p:tag name="FONTSETGROUPCLASSNAME" val="FontSetGroup1"/>
  <p:tag name="SHAPECLASSFILE" val="BoschLogo2016.emf"/>
  <p:tag name="MLI" val="1"/>
  <p:tag name="SHAPECLASSNAME" val="LogoOnSlides"/>
  <p:tag name="SHAPECLASSPROTECTIONTYPE" val="1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SHAPESETGROUPCLASSNAME" val="ShapeSetGroup1"/>
  <p:tag name="SHAPESETCLASSNAME" val="TitleSupergraphic2"/>
  <p:tag name="COLORSETGROUPCLASSNAME" val="ColorSetGroup1"/>
  <p:tag name="FONTSETGROUPCLASSNAME" val="FontSetGroup1"/>
  <p:tag name="SHAPECLASSFILE" val="BoschLogo2016.emf"/>
  <p:tag name="MLI" val="1"/>
  <p:tag name="SHAPECLASSNAME" val="LogoOnSlides"/>
  <p:tag name="SHAPECLASSPROTECTIONTYPE" val="15"/>
  <p:tag name="COLORS" val="-2;-2;-2;-2;-1;-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SHAPESETGROUPCLASSNAME" val="ShapeSetGroup1"/>
  <p:tag name="SHAPESETCLASSNAME" val="TitleSupergraphic2"/>
  <p:tag name="COLORSETGROUPCLASSNAME" val="ColorSetGroup1"/>
  <p:tag name="FONTSETGROUPCLASSNAME" val="FontSetGroup1"/>
  <p:tag name="SHAPECLASSFILE" val="Bosch-Symbol-Logotype-Supergraphic.png"/>
  <p:tag name="MLI" val="1"/>
  <p:tag name="SHAPECLASSNAME" val="ColorBarOnTitleSlides"/>
  <p:tag name="SHAPECLASSPROTECTIONTYPE" val="15"/>
  <p:tag name="COLORS" val="-2;-2;-2;-2;-1;-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Reg80"/>
  <p:tag name="FONTSETCLASSNAME" val="FontSet1"/>
  <p:tag name="COLORSETCLASSNAME" val="ColorSet1"/>
  <p:tag name="MLI" val="1"/>
  <p:tag name="SHAPESETGROUPCLASSNAME" val="ShapeSetGroup1"/>
  <p:tag name="SHAPESETCLASSNAME" val="TitleSupergraphic2"/>
  <p:tag name="FONTSETGROUPCLASSNAME" val="FontSetGroup1"/>
  <p:tag name="SHAPECLASSNAME" val="TitleOnTitleSlides"/>
  <p:tag name="SHAPECLASSPROTECTIONTYPE" val="0"/>
  <p:tag name="COLORSETGROUPCLASSNAME" val="ColorSetGroup1"/>
  <p:tag name="COLORS" val="Black;-1;-2;-2;-1;-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ELDS.INITIALIZED" val="1"/>
  <p:tag name="ML_1" val="RB_Fe"/>
  <p:tag name="ML_2" val="Bosch2.mcr"/>
  <p:tag name="SHAPESETGROUPCLASSNAME" val="ShapeSetGroup1"/>
  <p:tag name="SHAPESETCLASSNAME" val="Object"/>
  <p:tag name="COLORSETGROUPCLASSNAME" val="ColorSetGroup1"/>
  <p:tag name="COLORSETCLASSNAME" val="ColorSet2"/>
  <p:tag name="FONTSETGROUPCLASSNAME" val="FontSetGroup1"/>
  <p:tag name="STYLESETGROUPCLASSNAME" val="StyleSetGroup1"/>
  <p:tag name="MAPNAME" val="Map1"/>
  <p:tag name="CFG.LAYOUT" val="BOSCH2"/>
  <p:tag name="MLI" val="1"/>
  <p:tag name="RECTANGLE 3_SHAPECLASSPROTECTIONTYPE" val="3"/>
  <p:tag name="RECTANGLE 4_SHAPECLASSPROTECTIONTYPE" val="63"/>
  <p:tag name="RECTANGLE 5_SHAPECLASSPROTECTIONTYPE" val="63"/>
  <p:tag name="RECTANGLE 6_SHAPECLASSPROTECTIONTYPE" val="63"/>
  <p:tag name="CONTENT PLACEHOLDER 2_SHAPECLASSPROTECTIONTYPE" val="0"/>
  <p:tag name="FIELD.CHAPTER.CONTENT" val="Titel des Kapitels"/>
  <p:tag name="FIELD.CHAPTER.VALUE" val="Titel des Kapitels"/>
  <p:tag name="FIELD.CHAPTER.COMBOINDEX" val="0"/>
  <p:tag name="FIELD.DPT.CONTENT" val="CI/BAA-UX"/>
  <p:tag name="FIELD.DPT.VALUE" val="CI/BAA-UX | "/>
  <p:tag name="ML_LAYOUT_RESOURCE" val="BOSCH2_16_9.mcr"/>
  <p:tag name="CONFIG" val="BOSCH2"/>
  <p:tag name="TEXTBOX 7_SHAPECLASSPROTECTIONTYPE" val="31"/>
  <p:tag name="TEXTBOX 8_SHAPECLASSPROTECTIONTYPE" val="25"/>
  <p:tag name="TITLE 1_SHAPECLASSPROTECTIONTYPE" val="9"/>
  <p:tag name="NBTXT" val="Bosch Fiori Architecture  Content"/>
  <p:tag name="AGTX" val="Bosch Fiori Architecture  Content"/>
  <p:tag name="NBTXTC" val="Content"/>
  <p:tag name="AGTXC" val="Content"/>
  <p:tag name="FIELD.REM_ANL.CONTENT" val=""/>
  <p:tag name="FIELD.REM_ANL.VALUE" val=""/>
  <p:tag name="FIELD.REM_ANL.COMBOINDEX" val="-2"/>
  <p:tag name="FIELD.DPT.COMBOINDEX" val="-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NavbarItem"/>
  <p:tag name="FONTSETCLASSNAME" val="FontSet1"/>
  <p:tag name="COLORSETCLASSNAME" val="ColorSet1"/>
  <p:tag name="MLI" val="1"/>
  <p:tag name="SHAPESETGROUPCLASSNAME" val="ShapeSetGroup1"/>
  <p:tag name="SHAPESETCLASSNAME" val="Object"/>
  <p:tag name="COLORSETGROUPCLASSNAME" val="ColorSetGroup1"/>
  <p:tag name="FONTSETGROUPCLASSNAME" val="FontSetGroup1"/>
  <p:tag name="SHAPECLASSNAME" val="tNavbar"/>
  <p:tag name="SHAPECLASSPROTECTIONTYPE" val="31"/>
  <p:tag name="COLORS" val="-2;-2;-2;-2;-1;-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Reg12"/>
  <p:tag name="FONTSETCLASSNAME" val="FontSet1"/>
  <p:tag name="COLORS" val="-2;-2;-2;-2;DarkGray2;-2"/>
  <p:tag name="COLORSETCLASSNAME" val="ColorSet1"/>
  <p:tag name="SCRIPT" val="1"/>
  <p:tag name="MLI" val="1"/>
  <p:tag name="SHAPESETGROUPCLASSNAME" val="ShapeSetGroup1"/>
  <p:tag name="SHAPESETCLASSNAME" val="Object"/>
  <p:tag name="COLORSETGROUPCLASSNAME" val="ColorSetGroup1"/>
  <p:tag name="FONTSETGROUPCLASSNAME" val="FontSetGroup1"/>
  <p:tag name="SHAPECLASSNAME" val="PageNumberOnSlides"/>
  <p:tag name="SHAPECLASSPROTECTIONTYPE" val="6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SETCLASSNAME" val="FontSet1"/>
  <p:tag name="COLORSETCLASSNAME" val="ColorSet1"/>
  <p:tag name="SCRIPT" val="1"/>
  <p:tag name="FIELDS" val="REM_ANL;"/>
  <p:tag name="MLI" val="1"/>
  <p:tag name="SHAPESETGROUPCLASSNAME" val="ShapeSetGroup1"/>
  <p:tag name="SHAPESETCLASSNAME" val="Object"/>
  <p:tag name="COLORSETGROUPCLASSNAME" val="ColorSetGroup1"/>
  <p:tag name="FONTSETGROUPCLASSNAME" val="FontSetGroup1"/>
  <p:tag name="SHAPECLASSNAME" val="Attachment"/>
  <p:tag name="SHAPECLASSPROTECTIONTYPE" val="3"/>
  <p:tag name="FONT" val="Reg5x5"/>
  <p:tag name="COLORS" val="-2;-2;-2;-2;-1;-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Reg28"/>
  <p:tag name="FONTSETCLASSNAME" val="FontSet1"/>
  <p:tag name="COLORSETCLASSNAME" val="ColorSet2"/>
  <p:tag name="MLI" val="1"/>
  <p:tag name="SHAPESETGROUPCLASSNAME" val="ShapeSetGroup1"/>
  <p:tag name="SHAPESETCLASSNAME" val="Object"/>
  <p:tag name="COLORSETGROUPCLASSNAME" val="ColorSetGroup1"/>
  <p:tag name="FONTSETGROUPCLASSNAME" val="FontSetGroup1"/>
  <p:tag name="FONTCOLOR" val="Primary"/>
  <p:tag name="FONTCOLOR2" val="Primary"/>
  <p:tag name="RUNS.FONT" val="2"/>
  <p:tag name="COLORS" val="-2;-2;-2;-2;Primary;-2"/>
  <p:tag name="SHAPECLASSNAME" val="TitleOnSlides"/>
  <p:tag name="SHAPECLASSPROTECTIONTYPE" val="9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SETCLASSNAME" val="FontSet1"/>
  <p:tag name="COLORSETCLASSNAME" val="ColorSet1"/>
  <p:tag name="STYLENAME" val="Bodystyle"/>
  <p:tag name="MLI" val="1"/>
  <p:tag name="SHAPESETGROUPCLASSNAME" val="ShapeSetGroup1"/>
  <p:tag name="SHAPESETCLASSNAME" val="Object"/>
  <p:tag name="COLORSETGROUPCLASSNAME" val="ColorSetGroup1"/>
  <p:tag name="FONTSETGROUPCLASSNAME" val="FontSetGroup1"/>
  <p:tag name="SHAPECLASSNAME" val="ObjectFull"/>
  <p:tag name="SHAPECLASSPROTECTIONTYPE" val="0"/>
  <p:tag name="COLORS" val="Black;-1;-2;-2;-3;-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ELD.CHAPTER.CONTENT" val="Titel des Kapitels"/>
  <p:tag name="FIELD.CHAPTER.VALUE" val="Titel des Kapitels"/>
  <p:tag name="FIELD.DPT.CONTENT" val="CI/BAA-UX"/>
  <p:tag name="FIELD.DPT.VALUE" val="CI/BAA-UX | "/>
  <p:tag name="FIELDS.INITIALIZED" val="1"/>
  <p:tag name="ML_1" val="RB_Fe"/>
  <p:tag name="ML_2" val="Bosch2.mcr"/>
  <p:tag name="ML_LAYOUT_RESOURCE" val="BOSCH2_16_9.mcr"/>
  <p:tag name="SHAPESETGROUPCLASSNAME" val="ShapeSetGroup1"/>
  <p:tag name="SHAPESETCLASSNAME" val="Object"/>
  <p:tag name="COLORSETGROUPCLASSNAME" val="ColorSetGroup1"/>
  <p:tag name="COLORSETCLASSNAME" val="ColorSet2"/>
  <p:tag name="FONTSETGROUPCLASSNAME" val="FontSetGroup1"/>
  <p:tag name="STYLESETGROUPCLASSNAME" val="StyleSetGroup1"/>
  <p:tag name="MAPNAME" val="Map1"/>
  <p:tag name="CFG.LAYOUT" val="BOSCH2"/>
  <p:tag name="MLI" val="1"/>
  <p:tag name="TEXTBOX 3_SHAPECLASSPROTECTIONTYPE" val="31"/>
  <p:tag name="RECTANGLE 4_SHAPECLASSPROTECTIONTYPE" val="3"/>
  <p:tag name="RECTANGLE 5_SHAPECLASSPROTECTIONTYPE" val="63"/>
  <p:tag name="RECTANGLE 6_SHAPECLASSPROTECTIONTYPE" val="63"/>
  <p:tag name="RECTANGLE 7_SHAPECLASSPROTECTIONTYPE" val="63"/>
  <p:tag name="CONTENT PLACEHOLDER 2_SHAPECLASSPROTECTIONTYPE" val="0"/>
  <p:tag name="TEXTBOX 8_SHAPECLASSPROTECTIONTYPE" val="25"/>
  <p:tag name="TITLE 1_SHAPECLASSPROTECTIONTYPE" val="9"/>
  <p:tag name="FIELD.REM_ANL.CONTENT" val=""/>
  <p:tag name="FIELD.REM_ANL.VALUE" val=""/>
  <p:tag name="FIELD.REM_ANL.COMBOINDEX" val="-2"/>
  <p:tag name="FIELD.DPT.COMBOINDEX" val="-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SHAPESETGROUPCLASSNAME" val="ShapeSetGroup1"/>
  <p:tag name="SHAPESETCLASSNAME" val="Slide"/>
  <p:tag name="COLORSETGROUPCLASSNAME" val="ColorSetGroup1"/>
  <p:tag name="FONTSETGROUPCLASSNAME" val="FontSetGroup1"/>
  <p:tag name="SHAPECLASSFILE" val="Bosch-Supergraphic-Bottom-16-9.png"/>
  <p:tag name="MLI" val="1"/>
  <p:tag name="SHAPECLASSNAME" val="ColorBarOnSlides"/>
  <p:tag name="SHAPECLASSPROTECTIONTYPE" val="15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Reg5x5"/>
  <p:tag name="FONTSETCLASSNAME" val="FontSet1"/>
  <p:tag name="COLORS" val="-2;-2;-2;-2;-2;-2"/>
  <p:tag name="COLORSETCLASSNAME" val="ColorSet1"/>
  <p:tag name="SCRIPT" val="1"/>
  <p:tag name="FIELDS" val="REM_ANL;"/>
  <p:tag name="MLI" val="1"/>
  <p:tag name="SHAPESETGROUPCLASSNAME" val="ShapeSetGroup1"/>
  <p:tag name="SHAPESETCLASSNAME" val="Object"/>
  <p:tag name="COLORSETGROUPCLASSNAME" val="ColorSetGroup1"/>
  <p:tag name="FONTSETGROUPCLASSNAME" val="FontSetGroup1"/>
  <p:tag name="SHAPECLASSNAME" val="Attachment"/>
  <p:tag name="SHAPECLASSPROTECTIONTYPE" val="3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NavbarItem"/>
  <p:tag name="FONTSETCLASSNAME" val="FontSet1"/>
  <p:tag name="COLORS" val="-2;-2;-2;-2;-2;-2"/>
  <p:tag name="COLORSETCLASSNAME" val="ColorSet1"/>
  <p:tag name="MLI" val="1"/>
  <p:tag name="SHAPESETGROUPCLASSNAME" val="ShapeSetGroup1"/>
  <p:tag name="SHAPESETCLASSNAME" val="Object"/>
  <p:tag name="COLORSETGROUPCLASSNAME" val="ColorSetGroup1"/>
  <p:tag name="FONTSETGROUPCLASSNAME" val="FontSetGroup1"/>
  <p:tag name="SHAPECLASSNAME" val="tNavbar"/>
  <p:tag name="SHAPECLASSPROTECTIONTYPE" val="3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Reg28"/>
  <p:tag name="FONTSETCLASSNAME" val="FontSet1"/>
  <p:tag name="FONTCOLOR" val="Primary"/>
  <p:tag name="FONTCOLOR2" val="Primary"/>
  <p:tag name="RUNS.FONT" val="2"/>
  <p:tag name="COLORSETCLASSNAME" val="ColorSet2"/>
  <p:tag name="MLI" val="1"/>
  <p:tag name="SHAPESETGROUPCLASSNAME" val="ShapeSetGroup1"/>
  <p:tag name="SHAPESETCLASSNAME" val="Object"/>
  <p:tag name="COLORSETGROUPCLASSNAME" val="ColorSetGroup1"/>
  <p:tag name="FONTSETGROUPCLASSNAME" val="FontSetGroup1"/>
  <p:tag name="SHAPECLASSNAME" val="TitleOnSlides"/>
  <p:tag name="SHAPECLASSPROTECTIONTYPE" val="9"/>
  <p:tag name="COLORS" val="-2;-2;-2;-2;Primary;-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2;-2;-1;-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2;-2;Primary;-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Black;-1;-2;-2;-1;-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DarkGray2;-1;-2;-2;-1;-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2;-2;-1;Black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Black;-1;-2;-2;DarkBlue;-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Black;-1;-2;-2;DarkBlue;-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Black;-1;-2;-2;DarkBlue;-2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Black;-1;-2;-2;DarkBlue;-2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2;-2;-1;Black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Primary;-1;-1;Black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Primary;-1;-1;-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DarkGray2;-1;-2;-2;-1;-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Primary;-1;-1;Black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Black;-1;-2;-2;DarkBlue;-2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Primary;-1;-1;-2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Primary;-1;-1;Black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Primary;-1;-1;-2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Primary;-1;-1;Black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Primary;-1;-1;-2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oLX4XoTYiMbO7pG.gy2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2;-2;-1;-2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2;-2;-1;Black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2;-2;-1;-2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2;-2;LightBlue;-2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2;-2;LightGreen;-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1;-1;-1;-2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1;-1;-1;-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ELDS.INITIALIZED" val="1"/>
  <p:tag name="ML_1" val="RB_Fe"/>
  <p:tag name="ML_2" val="Bosch2.mcr"/>
  <p:tag name="SHAPESETGROUPCLASSNAME" val="ShapeSetGroup1"/>
  <p:tag name="SHAPESETCLASSNAME" val="TitleSupergraphic2"/>
  <p:tag name="COLORSETCLASSNAME" val="ColorSet2"/>
  <p:tag name="FONTSETGROUPCLASSNAME" val="FontSetGroup1"/>
  <p:tag name="STYLESETGROUPCLASSNAME" val="StyleSetGroup1"/>
  <p:tag name="MAPNAME" val="Map1"/>
  <p:tag name="CFG.LAYOUT" val="BOSCH2"/>
  <p:tag name="MLI" val="1"/>
  <p:tag name="PICTURE 3_SHAPECLASSPROTECTIONTYPE" val="15"/>
  <p:tag name="PICTURE 4_SHAPECLASSPROTECTIONTYPE" val="15"/>
  <p:tag name="PICTURE 5_SHAPECLASSPROTECTIONTYPE" val="15"/>
  <p:tag name="SUBTITLE 2_SHAPECLASSPROTECTIONTYPE" val="0"/>
  <p:tag name="TITLE 1_SHAPECLASSPROTECTIONTYPE" val="0"/>
  <p:tag name="FIELD.CHAPTER.CONTENT" val="Titel des Kapitels"/>
  <p:tag name="FIELD.CHAPTER.VALUE" val="Titel des Kapitels"/>
  <p:tag name="FIELD.CHAPTER.COMBOINDEX" val="0"/>
  <p:tag name="FIELD.DPT.CONTENT" val="CI/BAA-UX"/>
  <p:tag name="FIELD.DPT.VALUE" val="CI/BAA-UX | "/>
  <p:tag name="ML_LAYOUT_RESOURCE" val="BOSCH2_16_9.mcr"/>
  <p:tag name="COLORSETGROUPCLASSNAME" val="ColorSetGroup1"/>
  <p:tag name="CONFIG" val="BOSCH2"/>
  <p:tag name="PICTURE 6_SHAPECLASSPROTECTIONTYPE" val="15"/>
  <p:tag name="PICTURE 7_SHAPECLASSPROTECTIONTYPE" val="15"/>
  <p:tag name="PICTURE 8_SHAPECLASSPROTECTIONTYPE" val="15"/>
  <p:tag name="FIELD.REM_ANL.CONTENT" val=""/>
  <p:tag name="FIELD.REM_ANL.VALUE" val=""/>
  <p:tag name="FIELD.REM_ANL.COMBOINDEX" val="-2"/>
  <p:tag name="FIELD.DPT.COMBOINDEX" val="-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Reg80"/>
  <p:tag name="FONTSETCLASSNAME" val="FontSet1"/>
  <p:tag name="COLORSETCLASSNAME" val="ColorSet1"/>
  <p:tag name="MLI" val="1"/>
  <p:tag name="SHAPESETGROUPCLASSNAME" val="ShapeSetGroup1"/>
  <p:tag name="SHAPESETCLASSNAME" val="TitleSupergraphic2"/>
  <p:tag name="FONTSETGROUPCLASSNAME" val="FontSetGroup1"/>
  <p:tag name="SHAPECLASSNAME" val="TitleOnTitleSlides"/>
  <p:tag name="SHAPECLASSPROTECTIONTYPE" val="0"/>
  <p:tag name="COLORSETGROUPCLASSNAME" val="ColorSetGroup1"/>
  <p:tag name="COLORS" val="-2;-2;-2;-2;-1;-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Disguised"/>
  <p:tag name="FONTSETCLASSNAME" val="FontSet1"/>
  <p:tag name="COLORSETCLASSNAME" val="ColorSet1"/>
  <p:tag name="MLI" val="1"/>
  <p:tag name="SHAPESETGROUPCLASSNAME" val="ShapeSetGroup1"/>
  <p:tag name="SHAPESETCLASSNAME" val="TitleSupergraphic2"/>
  <p:tag name="FONTSETGROUPCLASSNAME" val="FontSetGroup1"/>
  <p:tag name="SHAPECLASSNAME" val="HiddenSubtitle"/>
  <p:tag name="SHAPECLASSPROTECTIONTYPE" val="0"/>
  <p:tag name="COLORSETGROUPCLASSNAME" val="ColorSetGroup1"/>
  <p:tag name="ML_SENDTOBACK" val=" 1"/>
  <p:tag name="COLORS" val="-2;-2;-2;-2;-1;-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SHAPESETGROUPCLASSNAME" val="ShapeSetGroup1"/>
  <p:tag name="SHAPESETCLASSNAME" val="TitleSupergraphic2"/>
  <p:tag name="COLORSETGROUPCLASSNAME" val="ColorSetGroup1"/>
  <p:tag name="FONTSETGROUPCLASSNAME" val="FontSetGroup1"/>
  <p:tag name="SHAPECLASSFILE" val="Bosch-Supergraphic-P2-16-9.png"/>
  <p:tag name="MLI" val="1"/>
  <p:tag name="SHAPECLASSNAME" val="Supergraphic2"/>
  <p:tag name="SHAPECLASSPROTECTIONTYPE" val="15"/>
  <p:tag name="COLORS" val="-2;-2;-2;-2;-1;-2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144</Words>
  <Application>Microsoft Office PowerPoint</Application>
  <PresentationFormat>Widescreen</PresentationFormat>
  <Paragraphs>155</Paragraphs>
  <Slides>15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5</vt:i4>
      </vt:variant>
    </vt:vector>
  </HeadingPairs>
  <TitlesOfParts>
    <vt:vector size="31" baseType="lpstr">
      <vt:lpstr>Arial Unicode MS</vt:lpstr>
      <vt:lpstr>BentonSans Regular</vt:lpstr>
      <vt:lpstr>等线</vt:lpstr>
      <vt:lpstr>等线 Light</vt:lpstr>
      <vt:lpstr>ＭＳ Ｐゴシック</vt:lpstr>
      <vt:lpstr>游ゴシック Light</vt:lpstr>
      <vt:lpstr>Arial</vt:lpstr>
      <vt:lpstr>Bosch Office Sans</vt:lpstr>
      <vt:lpstr>Calibri</vt:lpstr>
      <vt:lpstr>Calibri Light</vt:lpstr>
      <vt:lpstr>Courier New</vt:lpstr>
      <vt:lpstr>Helvetica</vt:lpstr>
      <vt:lpstr>Wingdings</vt:lpstr>
      <vt:lpstr>Office Theme</vt:lpstr>
      <vt:lpstr>Acrobat Document</vt:lpstr>
      <vt:lpstr>think-cell Folie</vt:lpstr>
      <vt:lpstr>Fiori@Bosch</vt:lpstr>
      <vt:lpstr>Content</vt:lpstr>
      <vt:lpstr>What is good UX?</vt:lpstr>
      <vt:lpstr>Introducing SAP Fiori Keeping Simple Things Simple</vt:lpstr>
      <vt:lpstr>SAP Fiori App Library</vt:lpstr>
      <vt:lpstr>SAP Fiori UX Design Principles</vt:lpstr>
      <vt:lpstr>Fiori Apps Designed for Specific Roles Apps providing the right info for the right role </vt:lpstr>
      <vt:lpstr>Responsive Web Design Seamless User Experience</vt:lpstr>
      <vt:lpstr>Fiori helps increase productivity:  Adequate Context Information to make the Right Decision</vt:lpstr>
      <vt:lpstr>Fiori helps increase productivity:  Consistent UI Across App</vt:lpstr>
      <vt:lpstr>SAP Fiori UX Design Principles Delightful</vt:lpstr>
      <vt:lpstr>SAP Fiori 2.0</vt:lpstr>
      <vt:lpstr>SAP Fiori Launchpad</vt:lpstr>
      <vt:lpstr>S/4HANA Architecture</vt:lpstr>
      <vt:lpstr>PowerPoint Presentation</vt:lpstr>
    </vt:vector>
  </TitlesOfParts>
  <Company>BOSCH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I Sabrina (CI/DAV2.5)</dc:creator>
  <cp:lastModifiedBy>LI Sabrina (CI/DAV1.5)</cp:lastModifiedBy>
  <cp:revision>14</cp:revision>
  <dcterms:created xsi:type="dcterms:W3CDTF">2019-06-01T12:30:07Z</dcterms:created>
  <dcterms:modified xsi:type="dcterms:W3CDTF">2020-10-20T07:25:29Z</dcterms:modified>
</cp:coreProperties>
</file>